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tags/tag29.xml" ContentType="application/vnd.openxmlformats-officedocument.presentationml.tags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  <p:sldMasterId id="2147483688" r:id="rId6"/>
    <p:sldMasterId id="2147483701" r:id="rId7"/>
  </p:sldMasterIdLst>
  <p:notesMasterIdLst>
    <p:notesMasterId r:id="rId35"/>
  </p:notesMasterIdLst>
  <p:handoutMasterIdLst>
    <p:handoutMasterId r:id="rId36"/>
  </p:handoutMasterIdLst>
  <p:sldIdLst>
    <p:sldId id="4323" r:id="rId8"/>
    <p:sldId id="4349" r:id="rId9"/>
    <p:sldId id="4347" r:id="rId10"/>
    <p:sldId id="2145704779" r:id="rId11"/>
    <p:sldId id="2145704747" r:id="rId12"/>
    <p:sldId id="2145704761" r:id="rId13"/>
    <p:sldId id="2145704814" r:id="rId14"/>
    <p:sldId id="2145704788" r:id="rId15"/>
    <p:sldId id="2145704739" r:id="rId16"/>
    <p:sldId id="2145704810" r:id="rId17"/>
    <p:sldId id="2145704809" r:id="rId18"/>
    <p:sldId id="2145704811" r:id="rId19"/>
    <p:sldId id="2145704812" r:id="rId20"/>
    <p:sldId id="2145704765" r:id="rId21"/>
    <p:sldId id="2145704790" r:id="rId22"/>
    <p:sldId id="2145704763" r:id="rId23"/>
    <p:sldId id="4355" r:id="rId24"/>
    <p:sldId id="2145704709" r:id="rId25"/>
    <p:sldId id="2145704806" r:id="rId26"/>
    <p:sldId id="2145704807" r:id="rId27"/>
    <p:sldId id="2145704805" r:id="rId28"/>
    <p:sldId id="2145704778" r:id="rId29"/>
    <p:sldId id="2145704767" r:id="rId30"/>
    <p:sldId id="2145704808" r:id="rId31"/>
    <p:sldId id="2145704780" r:id="rId32"/>
    <p:sldId id="2145704795" r:id="rId33"/>
    <p:sldId id="4363" r:id="rId34"/>
  </p:sldIdLst>
  <p:sldSz cx="12192000" cy="6858000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BD2409-4783-94C6-24ED-8F104993044D}" name="Gwen Earp" initials="GE" userId="S::gwen.earp@ncosc.gov::7bfa86de-9fea-4123-abc5-e80c6336bff7" providerId="AD"/>
  <p188:author id="{2641430B-19C4-79B1-E62B-D1A6EE0B05D3}" name="Lena Andrade" initials="LA" userId="S::lena.andrade@ncosc.gov::66f130b5-8f6a-4cce-94d9-10c7f9b5d180" providerId="AD"/>
  <p188:author id="{C218A627-5283-A4F2-9910-44B59D99441F}" name="Frank Newsom" initials="FN" userId="S::frank.newsom@ncosc.gov::ad68d3cd-c08c-4937-a778-120681219286" providerId="AD"/>
  <p188:author id="{23F33246-ECC7-C865-68FE-E434F8A3A64D}" name="Taylor Brumbeloe" initials="TB" userId="S::taylor.brumbeloe@ncosc.gov::99848075-0e08-4b90-82f6-9f892778f08b" providerId="AD"/>
  <p188:author id="{192D196E-ECE6-4E6E-86A1-64861800E523}" name="Frank Newsom" initials="FN" userId="S::Frank.Newsom@ncosc.gov::ad68d3cd-c08c-4937-a778-120681219286" providerId="AD"/>
  <p188:author id="{2DE5A0C3-580F-2F34-7396-755BB9138AE9}" name="Jan Prevo" initials="JP" userId="S::Jan.Prevo@ncosc.gov::a97f2b47-fee0-4f84-a663-b1d45b4d0254" providerId="AD"/>
  <p188:author id="{5FFD5EC7-24BA-7122-E4FE-9FD239624251}" name="Dawn Parrish" initials="" userId="S::dawn.parrish@ncosc.gov::a5329d7b-fb97-402e-a1e0-6006cd4cdd5b" providerId="AD"/>
  <p188:author id="{9C9466CA-2685-3DBB-8AFE-3ED4F8D16A76}" name="Laura Lee" initials="LL" userId="S::Laura.Lee@ncosc.gov::3ca4bf71-309b-40f8-91fc-8d2ab8f2c4fc" providerId="AD"/>
  <p188:author id="{D0C2BECF-410D-4987-EAEF-28990FD44FF9}" name="Newsom, Frank" initials="NF" userId="S::Frank.Newsom@osc.nc.gov::43263cff-9d6c-4aab-839d-9e2757de01af" providerId="AD"/>
  <p188:author id="{CE22EFE6-239D-4DFF-DCD9-5B2B9C65254B}" name="Jan Prevo" initials="JP" userId="S::jan.prevo@ncosc.gov::a97f2b47-fee0-4f84-a663-b1d45b4d0254" providerId="AD"/>
  <p188:author id="{1F223AF6-030B-9F69-965C-2378D7A04DE3}" name="Lena Andrade" initials="LA" userId="S::Lena.Andrade@ncosc.gov::66f130b5-8f6a-4cce-94d9-10c7f9b5d18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loyd, David R" initials="LDR" lastIdx="23" clrIdx="0">
    <p:extLst>
      <p:ext uri="{19B8F6BF-5375-455C-9EA6-DF929625EA0E}">
        <p15:presenceInfo xmlns:p15="http://schemas.microsoft.com/office/powerpoint/2012/main" userId="Lloyd, David 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2B7C"/>
    <a:srgbClr val="DED5D0"/>
    <a:srgbClr val="F8F8F8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19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presProps" Target="presProps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notesMaster" Target="notesMasters/notesMaster1.xml"/><Relationship Id="rId43" Type="http://schemas.microsoft.com/office/2016/11/relationships/changesInfo" Target="changesInfos/changesInfo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pril Durrence" userId="2314a7d0-99d3-4144-8a7f-648170c8b7b7" providerId="ADAL" clId="{EAE80DB9-CB43-4440-9E5C-0B0573E509B3}"/>
    <pc:docChg chg="undo custSel addSld delSld modSld">
      <pc:chgData name="April Durrence" userId="2314a7d0-99d3-4144-8a7f-648170c8b7b7" providerId="ADAL" clId="{EAE80DB9-CB43-4440-9E5C-0B0573E509B3}" dt="2026-06-11T17:12:35.735" v="2463" actId="962"/>
      <pc:docMkLst>
        <pc:docMk/>
      </pc:docMkLst>
      <pc:sldChg chg="modSp mod">
        <pc:chgData name="April Durrence" userId="2314a7d0-99d3-4144-8a7f-648170c8b7b7" providerId="ADAL" clId="{EAE80DB9-CB43-4440-9E5C-0B0573E509B3}" dt="2026-06-08T19:20:47.747" v="2402" actId="13244"/>
        <pc:sldMkLst>
          <pc:docMk/>
          <pc:sldMk cId="3845699481" sldId="4347"/>
        </pc:sldMkLst>
        <pc:spChg chg="mod ord">
          <ac:chgData name="April Durrence" userId="2314a7d0-99d3-4144-8a7f-648170c8b7b7" providerId="ADAL" clId="{EAE80DB9-CB43-4440-9E5C-0B0573E509B3}" dt="2026-06-08T19:20:46.009" v="2401" actId="13244"/>
          <ac:spMkLst>
            <pc:docMk/>
            <pc:sldMk cId="3845699481" sldId="4347"/>
            <ac:spMk id="4" creationId="{F6984349-060F-D228-98FD-7E71A7E0EAF4}"/>
          </ac:spMkLst>
        </pc:spChg>
        <pc:spChg chg="ord">
          <ac:chgData name="April Durrence" userId="2314a7d0-99d3-4144-8a7f-648170c8b7b7" providerId="ADAL" clId="{EAE80DB9-CB43-4440-9E5C-0B0573E509B3}" dt="2026-06-08T19:20:47.747" v="2402" actId="13244"/>
          <ac:spMkLst>
            <pc:docMk/>
            <pc:sldMk cId="3845699481" sldId="4347"/>
            <ac:spMk id="6" creationId="{E8EA3CF6-BA14-8A7E-F620-A37BCC3CE249}"/>
          </ac:spMkLst>
        </pc:spChg>
      </pc:sldChg>
      <pc:sldChg chg="modSp mod">
        <pc:chgData name="April Durrence" userId="2314a7d0-99d3-4144-8a7f-648170c8b7b7" providerId="ADAL" clId="{EAE80DB9-CB43-4440-9E5C-0B0573E509B3}" dt="2026-06-08T18:50:19.532" v="2288" actId="962"/>
        <pc:sldMkLst>
          <pc:docMk/>
          <pc:sldMk cId="1744654685" sldId="4349"/>
        </pc:sldMkLst>
        <pc:picChg chg="mod">
          <ac:chgData name="April Durrence" userId="2314a7d0-99d3-4144-8a7f-648170c8b7b7" providerId="ADAL" clId="{EAE80DB9-CB43-4440-9E5C-0B0573E509B3}" dt="2026-06-08T18:50:19.532" v="2288" actId="962"/>
          <ac:picMkLst>
            <pc:docMk/>
            <pc:sldMk cId="1744654685" sldId="4349"/>
            <ac:picMk id="6" creationId="{526A0B30-A581-349A-8B40-94FA8B0BE483}"/>
          </ac:picMkLst>
        </pc:picChg>
      </pc:sldChg>
      <pc:sldChg chg="modSp mod">
        <pc:chgData name="April Durrence" userId="2314a7d0-99d3-4144-8a7f-648170c8b7b7" providerId="ADAL" clId="{EAE80DB9-CB43-4440-9E5C-0B0573E509B3}" dt="2026-06-08T19:19:54.138" v="2390" actId="948"/>
        <pc:sldMkLst>
          <pc:docMk/>
          <pc:sldMk cId="439895174" sldId="4355"/>
        </pc:sldMkLst>
        <pc:spChg chg="mod ord">
          <ac:chgData name="April Durrence" userId="2314a7d0-99d3-4144-8a7f-648170c8b7b7" providerId="ADAL" clId="{EAE80DB9-CB43-4440-9E5C-0B0573E509B3}" dt="2026-06-08T16:09:02.297" v="728" actId="13244"/>
          <ac:spMkLst>
            <pc:docMk/>
            <pc:sldMk cId="439895174" sldId="4355"/>
            <ac:spMk id="3" creationId="{19AC1B34-E25D-976F-363A-E03A0C816A2D}"/>
          </ac:spMkLst>
        </pc:spChg>
        <pc:spChg chg="mod">
          <ac:chgData name="April Durrence" userId="2314a7d0-99d3-4144-8a7f-648170c8b7b7" providerId="ADAL" clId="{EAE80DB9-CB43-4440-9E5C-0B0573E509B3}" dt="2026-06-08T19:19:54.138" v="2390" actId="948"/>
          <ac:spMkLst>
            <pc:docMk/>
            <pc:sldMk cId="439895174" sldId="4355"/>
            <ac:spMk id="5" creationId="{4F50133F-C213-71B2-4A51-5853E3645E47}"/>
          </ac:spMkLst>
        </pc:spChg>
      </pc:sldChg>
      <pc:sldChg chg="modSp mod">
        <pc:chgData name="April Durrence" userId="2314a7d0-99d3-4144-8a7f-648170c8b7b7" providerId="ADAL" clId="{EAE80DB9-CB43-4440-9E5C-0B0573E509B3}" dt="2026-06-08T19:18:19.959" v="2387" actId="20577"/>
        <pc:sldMkLst>
          <pc:docMk/>
          <pc:sldMk cId="2825516367" sldId="4363"/>
        </pc:sldMkLst>
        <pc:spChg chg="mod">
          <ac:chgData name="April Durrence" userId="2314a7d0-99d3-4144-8a7f-648170c8b7b7" providerId="ADAL" clId="{EAE80DB9-CB43-4440-9E5C-0B0573E509B3}" dt="2026-06-08T19:18:19.959" v="2387" actId="20577"/>
          <ac:spMkLst>
            <pc:docMk/>
            <pc:sldMk cId="2825516367" sldId="4363"/>
            <ac:spMk id="2" creationId="{F158984D-9E09-1C52-F743-3B26AA2131B4}"/>
          </ac:spMkLst>
        </pc:spChg>
        <pc:spChg chg="mod ord">
          <ac:chgData name="April Durrence" userId="2314a7d0-99d3-4144-8a7f-648170c8b7b7" providerId="ADAL" clId="{EAE80DB9-CB43-4440-9E5C-0B0573E509B3}" dt="2026-06-08T18:49:07.290" v="2280" actId="13244"/>
          <ac:spMkLst>
            <pc:docMk/>
            <pc:sldMk cId="2825516367" sldId="4363"/>
            <ac:spMk id="3" creationId="{9A072AB2-1A14-3DB0-318D-3BFE33DAC866}"/>
          </ac:spMkLst>
        </pc:spChg>
        <pc:spChg chg="mod">
          <ac:chgData name="April Durrence" userId="2314a7d0-99d3-4144-8a7f-648170c8b7b7" providerId="ADAL" clId="{EAE80DB9-CB43-4440-9E5C-0B0573E509B3}" dt="2026-06-08T18:50:00.136" v="2287" actId="2710"/>
          <ac:spMkLst>
            <pc:docMk/>
            <pc:sldMk cId="2825516367" sldId="4363"/>
            <ac:spMk id="4" creationId="{5B3F0A91-2B89-FF81-6E67-4240BC1CF794}"/>
          </ac:spMkLst>
        </pc:spChg>
        <pc:picChg chg="mod ord">
          <ac:chgData name="April Durrence" userId="2314a7d0-99d3-4144-8a7f-648170c8b7b7" providerId="ADAL" clId="{EAE80DB9-CB43-4440-9E5C-0B0573E509B3}" dt="2026-06-08T18:49:12.103" v="2282" actId="13244"/>
          <ac:picMkLst>
            <pc:docMk/>
            <pc:sldMk cId="2825516367" sldId="4363"/>
            <ac:picMk id="5" creationId="{811F65FA-1861-16F0-4103-54324B032CB6}"/>
          </ac:picMkLst>
        </pc:picChg>
      </pc:sldChg>
      <pc:sldChg chg="delSp modSp mod">
        <pc:chgData name="April Durrence" userId="2314a7d0-99d3-4144-8a7f-648170c8b7b7" providerId="ADAL" clId="{EAE80DB9-CB43-4440-9E5C-0B0573E509B3}" dt="2026-06-08T16:11:51.773" v="745" actId="478"/>
        <pc:sldMkLst>
          <pc:docMk/>
          <pc:sldMk cId="4241917700" sldId="2145704709"/>
        </pc:sldMkLst>
        <pc:spChg chg="mod ord">
          <ac:chgData name="April Durrence" userId="2314a7d0-99d3-4144-8a7f-648170c8b7b7" providerId="ADAL" clId="{EAE80DB9-CB43-4440-9E5C-0B0573E509B3}" dt="2026-06-08T16:10:19.976" v="735" actId="13244"/>
          <ac:spMkLst>
            <pc:docMk/>
            <pc:sldMk cId="4241917700" sldId="2145704709"/>
            <ac:spMk id="4" creationId="{A5BEC7AD-B2A6-4E9D-84AD-F786F31F3EDE}"/>
          </ac:spMkLst>
        </pc:spChg>
        <pc:spChg chg="mod ord">
          <ac:chgData name="April Durrence" userId="2314a7d0-99d3-4144-8a7f-648170c8b7b7" providerId="ADAL" clId="{EAE80DB9-CB43-4440-9E5C-0B0573E509B3}" dt="2026-06-08T16:11:45.043" v="743" actId="13244"/>
          <ac:spMkLst>
            <pc:docMk/>
            <pc:sldMk cId="4241917700" sldId="2145704709"/>
            <ac:spMk id="10" creationId="{CBBB265D-C908-5A58-8044-2C18C7CCFB44}"/>
          </ac:spMkLst>
        </pc:spChg>
        <pc:spChg chg="ord">
          <ac:chgData name="April Durrence" userId="2314a7d0-99d3-4144-8a7f-648170c8b7b7" providerId="ADAL" clId="{EAE80DB9-CB43-4440-9E5C-0B0573E509B3}" dt="2026-06-08T16:10:23.280" v="736" actId="13244"/>
          <ac:spMkLst>
            <pc:docMk/>
            <pc:sldMk cId="4241917700" sldId="2145704709"/>
            <ac:spMk id="13" creationId="{F764A021-18F7-5A66-97C2-10A0556929C1}"/>
          </ac:spMkLst>
        </pc:spChg>
        <pc:spChg chg="ord">
          <ac:chgData name="April Durrence" userId="2314a7d0-99d3-4144-8a7f-648170c8b7b7" providerId="ADAL" clId="{EAE80DB9-CB43-4440-9E5C-0B0573E509B3}" dt="2026-06-08T16:11:27.769" v="737" actId="13244"/>
          <ac:spMkLst>
            <pc:docMk/>
            <pc:sldMk cId="4241917700" sldId="2145704709"/>
            <ac:spMk id="36" creationId="{C7C7A680-A0A2-46E4-81B4-0523D4BE3DD5}"/>
          </ac:spMkLst>
        </pc:spChg>
        <pc:picChg chg="mod ord">
          <ac:chgData name="April Durrence" userId="2314a7d0-99d3-4144-8a7f-648170c8b7b7" providerId="ADAL" clId="{EAE80DB9-CB43-4440-9E5C-0B0573E509B3}" dt="2026-06-08T16:11:47.456" v="744" actId="962"/>
          <ac:picMkLst>
            <pc:docMk/>
            <pc:sldMk cId="4241917700" sldId="2145704709"/>
            <ac:picMk id="3" creationId="{F8B2B9AA-2ACD-966A-A871-E789210A68C8}"/>
          </ac:picMkLst>
        </pc:picChg>
        <pc:picChg chg="mod ord">
          <ac:chgData name="April Durrence" userId="2314a7d0-99d3-4144-8a7f-648170c8b7b7" providerId="ADAL" clId="{EAE80DB9-CB43-4440-9E5C-0B0573E509B3}" dt="2026-06-08T16:11:37.577" v="741" actId="13244"/>
          <ac:picMkLst>
            <pc:docMk/>
            <pc:sldMk cId="4241917700" sldId="2145704709"/>
            <ac:picMk id="7" creationId="{67953733-06EA-A759-C0CE-F69B48B6F1CD}"/>
          </ac:picMkLst>
        </pc:picChg>
        <pc:cxnChg chg="mod">
          <ac:chgData name="April Durrence" userId="2314a7d0-99d3-4144-8a7f-648170c8b7b7" providerId="ADAL" clId="{EAE80DB9-CB43-4440-9E5C-0B0573E509B3}" dt="2026-06-08T16:11:29.415" v="738" actId="962"/>
          <ac:cxnSpMkLst>
            <pc:docMk/>
            <pc:sldMk cId="4241917700" sldId="2145704709"/>
            <ac:cxnSpMk id="5" creationId="{3090EF30-4BD5-4989-8BBA-7A2EC017A665}"/>
          </ac:cxnSpMkLst>
        </pc:cxnChg>
      </pc:sldChg>
      <pc:sldChg chg="delSp modSp mod">
        <pc:chgData name="April Durrence" userId="2314a7d0-99d3-4144-8a7f-648170c8b7b7" providerId="ADAL" clId="{EAE80DB9-CB43-4440-9E5C-0B0573E509B3}" dt="2026-06-05T17:33:58.041" v="171" actId="13244"/>
        <pc:sldMkLst>
          <pc:docMk/>
          <pc:sldMk cId="2574654022" sldId="2145704739"/>
        </pc:sldMkLst>
        <pc:spChg chg="ord">
          <ac:chgData name="April Durrence" userId="2314a7d0-99d3-4144-8a7f-648170c8b7b7" providerId="ADAL" clId="{EAE80DB9-CB43-4440-9E5C-0B0573E509B3}" dt="2026-06-05T17:33:28.650" v="164" actId="13244"/>
          <ac:spMkLst>
            <pc:docMk/>
            <pc:sldMk cId="2574654022" sldId="2145704739"/>
            <ac:spMk id="2" creationId="{6B3956D7-47CD-65DF-1B2A-48799AE9000D}"/>
          </ac:spMkLst>
        </pc:spChg>
        <pc:spChg chg="mod ord">
          <ac:chgData name="April Durrence" userId="2314a7d0-99d3-4144-8a7f-648170c8b7b7" providerId="ADAL" clId="{EAE80DB9-CB43-4440-9E5C-0B0573E509B3}" dt="2026-06-05T17:33:22.818" v="163" actId="13244"/>
          <ac:spMkLst>
            <pc:docMk/>
            <pc:sldMk cId="2574654022" sldId="2145704739"/>
            <ac:spMk id="4" creationId="{1DB7DEF8-0053-B2BA-16C6-973D04754991}"/>
          </ac:spMkLst>
        </pc:spChg>
        <pc:spChg chg="ord">
          <ac:chgData name="April Durrence" userId="2314a7d0-99d3-4144-8a7f-648170c8b7b7" providerId="ADAL" clId="{EAE80DB9-CB43-4440-9E5C-0B0573E509B3}" dt="2026-06-05T17:33:46.406" v="168" actId="13244"/>
          <ac:spMkLst>
            <pc:docMk/>
            <pc:sldMk cId="2574654022" sldId="2145704739"/>
            <ac:spMk id="10" creationId="{359E6393-BEB0-E700-8D17-83AC4DD2DC86}"/>
          </ac:spMkLst>
        </pc:spChg>
        <pc:picChg chg="mod">
          <ac:chgData name="April Durrence" userId="2314a7d0-99d3-4144-8a7f-648170c8b7b7" providerId="ADAL" clId="{EAE80DB9-CB43-4440-9E5C-0B0573E509B3}" dt="2026-06-05T17:33:41.397" v="167" actId="962"/>
          <ac:picMkLst>
            <pc:docMk/>
            <pc:sldMk cId="2574654022" sldId="2145704739"/>
            <ac:picMk id="7" creationId="{CF3EA374-40B3-4A63-992E-1657FB8A58F3}"/>
          </ac:picMkLst>
        </pc:picChg>
        <pc:picChg chg="mod">
          <ac:chgData name="April Durrence" userId="2314a7d0-99d3-4144-8a7f-648170c8b7b7" providerId="ADAL" clId="{EAE80DB9-CB43-4440-9E5C-0B0573E509B3}" dt="2026-06-05T17:33:58.041" v="171" actId="13244"/>
          <ac:picMkLst>
            <pc:docMk/>
            <pc:sldMk cId="2574654022" sldId="2145704739"/>
            <ac:picMk id="1028" creationId="{0E91D2EA-9A72-1D98-A72A-B5784A62384A}"/>
          </ac:picMkLst>
        </pc:picChg>
        <pc:cxnChg chg="mod ord">
          <ac:chgData name="April Durrence" userId="2314a7d0-99d3-4144-8a7f-648170c8b7b7" providerId="ADAL" clId="{EAE80DB9-CB43-4440-9E5C-0B0573E509B3}" dt="2026-06-05T17:33:48.628" v="169" actId="13244"/>
          <ac:cxnSpMkLst>
            <pc:docMk/>
            <pc:sldMk cId="2574654022" sldId="2145704739"/>
            <ac:cxnSpMk id="5" creationId="{A091165D-3389-C0E1-CAE7-2DBE695840B9}"/>
          </ac:cxnSpMkLst>
        </pc:cxnChg>
      </pc:sldChg>
      <pc:sldChg chg="modSp mod">
        <pc:chgData name="April Durrence" userId="2314a7d0-99d3-4144-8a7f-648170c8b7b7" providerId="ADAL" clId="{EAE80DB9-CB43-4440-9E5C-0B0573E509B3}" dt="2026-06-05T16:52:48.159" v="23" actId="2710"/>
        <pc:sldMkLst>
          <pc:docMk/>
          <pc:sldMk cId="1457864101" sldId="2145704747"/>
        </pc:sldMkLst>
        <pc:spChg chg="mod ord">
          <ac:chgData name="April Durrence" userId="2314a7d0-99d3-4144-8a7f-648170c8b7b7" providerId="ADAL" clId="{EAE80DB9-CB43-4440-9E5C-0B0573E509B3}" dt="2026-06-05T16:52:26.967" v="21" actId="13244"/>
          <ac:spMkLst>
            <pc:docMk/>
            <pc:sldMk cId="1457864101" sldId="2145704747"/>
            <ac:spMk id="2" creationId="{AC7BA158-C8A6-3B3A-30D7-1F51331A4BEF}"/>
          </ac:spMkLst>
        </pc:spChg>
        <pc:spChg chg="mod">
          <ac:chgData name="April Durrence" userId="2314a7d0-99d3-4144-8a7f-648170c8b7b7" providerId="ADAL" clId="{EAE80DB9-CB43-4440-9E5C-0B0573E509B3}" dt="2026-06-05T16:52:48.159" v="23" actId="2710"/>
          <ac:spMkLst>
            <pc:docMk/>
            <pc:sldMk cId="1457864101" sldId="2145704747"/>
            <ac:spMk id="8" creationId="{A546718B-A9AE-0340-D839-86FFC8DAEE9C}"/>
          </ac:spMkLst>
        </pc:spChg>
      </pc:sldChg>
      <pc:sldChg chg="delSp modSp mod">
        <pc:chgData name="April Durrence" userId="2314a7d0-99d3-4144-8a7f-648170c8b7b7" providerId="ADAL" clId="{EAE80DB9-CB43-4440-9E5C-0B0573E509B3}" dt="2026-06-08T16:08:17.073" v="726" actId="6549"/>
        <pc:sldMkLst>
          <pc:docMk/>
          <pc:sldMk cId="926731724" sldId="2145704761"/>
        </pc:sldMkLst>
        <pc:spChg chg="ord">
          <ac:chgData name="April Durrence" userId="2314a7d0-99d3-4144-8a7f-648170c8b7b7" providerId="ADAL" clId="{EAE80DB9-CB43-4440-9E5C-0B0573E509B3}" dt="2026-06-05T16:53:09.682" v="27" actId="13244"/>
          <ac:spMkLst>
            <pc:docMk/>
            <pc:sldMk cId="926731724" sldId="2145704761"/>
            <ac:spMk id="2" creationId="{4CB11BFD-4539-E98D-5862-EA42BB6777FB}"/>
          </ac:spMkLst>
        </pc:spChg>
        <pc:spChg chg="mod ord">
          <ac:chgData name="April Durrence" userId="2314a7d0-99d3-4144-8a7f-648170c8b7b7" providerId="ADAL" clId="{EAE80DB9-CB43-4440-9E5C-0B0573E509B3}" dt="2026-06-05T16:53:01.943" v="25" actId="13244"/>
          <ac:spMkLst>
            <pc:docMk/>
            <pc:sldMk cId="926731724" sldId="2145704761"/>
            <ac:spMk id="4" creationId="{ADECCF23-5F0D-4C6C-21D2-7580B105FEED}"/>
          </ac:spMkLst>
        </pc:spChg>
        <pc:spChg chg="mod ord">
          <ac:chgData name="April Durrence" userId="2314a7d0-99d3-4144-8a7f-648170c8b7b7" providerId="ADAL" clId="{EAE80DB9-CB43-4440-9E5C-0B0573E509B3}" dt="2026-06-08T16:08:17.073" v="726" actId="6549"/>
          <ac:spMkLst>
            <pc:docMk/>
            <pc:sldMk cId="926731724" sldId="2145704761"/>
            <ac:spMk id="10" creationId="{17E5CC87-6199-CBDC-1584-2DF158D5DBBF}"/>
          </ac:spMkLst>
        </pc:spChg>
        <pc:picChg chg="mod ord">
          <ac:chgData name="April Durrence" userId="2314a7d0-99d3-4144-8a7f-648170c8b7b7" providerId="ADAL" clId="{EAE80DB9-CB43-4440-9E5C-0B0573E509B3}" dt="2026-06-05T16:54:06.302" v="35" actId="13244"/>
          <ac:picMkLst>
            <pc:docMk/>
            <pc:sldMk cId="926731724" sldId="2145704761"/>
            <ac:picMk id="6" creationId="{34683C5C-02EC-E179-E3FB-A1A950F764E0}"/>
          </ac:picMkLst>
        </pc:picChg>
        <pc:picChg chg="mod">
          <ac:chgData name="April Durrence" userId="2314a7d0-99d3-4144-8a7f-648170c8b7b7" providerId="ADAL" clId="{EAE80DB9-CB43-4440-9E5C-0B0573E509B3}" dt="2026-06-05T16:53:52.877" v="33" actId="962"/>
          <ac:picMkLst>
            <pc:docMk/>
            <pc:sldMk cId="926731724" sldId="2145704761"/>
            <ac:picMk id="7" creationId="{C9E83BEE-30D6-A072-9C28-1FB7E62548DC}"/>
          </ac:picMkLst>
        </pc:picChg>
        <pc:cxnChg chg="mod ord">
          <ac:chgData name="April Durrence" userId="2314a7d0-99d3-4144-8a7f-648170c8b7b7" providerId="ADAL" clId="{EAE80DB9-CB43-4440-9E5C-0B0573E509B3}" dt="2026-06-05T16:53:15.397" v="29" actId="13244"/>
          <ac:cxnSpMkLst>
            <pc:docMk/>
            <pc:sldMk cId="926731724" sldId="2145704761"/>
            <ac:cxnSpMk id="5" creationId="{20AC3885-6163-207D-09A1-34CE806C6022}"/>
          </ac:cxnSpMkLst>
        </pc:cxnChg>
      </pc:sldChg>
      <pc:sldChg chg="delSp modSp mod">
        <pc:chgData name="April Durrence" userId="2314a7d0-99d3-4144-8a7f-648170c8b7b7" providerId="ADAL" clId="{EAE80DB9-CB43-4440-9E5C-0B0573E509B3}" dt="2026-06-08T16:07:31.895" v="723" actId="962"/>
        <pc:sldMkLst>
          <pc:docMk/>
          <pc:sldMk cId="4106372603" sldId="2145704763"/>
        </pc:sldMkLst>
        <pc:spChg chg="ord">
          <ac:chgData name="April Durrence" userId="2314a7d0-99d3-4144-8a7f-648170c8b7b7" providerId="ADAL" clId="{EAE80DB9-CB43-4440-9E5C-0B0573E509B3}" dt="2026-06-08T16:06:44.762" v="713" actId="13244"/>
          <ac:spMkLst>
            <pc:docMk/>
            <pc:sldMk cId="4106372603" sldId="2145704763"/>
            <ac:spMk id="2" creationId="{AEAF2389-87B9-7AEB-84FA-A9D0623F08F3}"/>
          </ac:spMkLst>
        </pc:spChg>
        <pc:spChg chg="mod ord">
          <ac:chgData name="April Durrence" userId="2314a7d0-99d3-4144-8a7f-648170c8b7b7" providerId="ADAL" clId="{EAE80DB9-CB43-4440-9E5C-0B0573E509B3}" dt="2026-06-08T16:06:41.362" v="712" actId="13244"/>
          <ac:spMkLst>
            <pc:docMk/>
            <pc:sldMk cId="4106372603" sldId="2145704763"/>
            <ac:spMk id="4" creationId="{B02ADB74-DF9A-6524-6014-ED136832399B}"/>
          </ac:spMkLst>
        </pc:spChg>
        <pc:spChg chg="mod ord">
          <ac:chgData name="April Durrence" userId="2314a7d0-99d3-4144-8a7f-648170c8b7b7" providerId="ADAL" clId="{EAE80DB9-CB43-4440-9E5C-0B0573E509B3}" dt="2026-06-08T16:07:16.126" v="720" actId="6549"/>
          <ac:spMkLst>
            <pc:docMk/>
            <pc:sldMk cId="4106372603" sldId="2145704763"/>
            <ac:spMk id="10" creationId="{AFEC3E2A-5D66-A865-ADBE-13D5DD202C6C}"/>
          </ac:spMkLst>
        </pc:spChg>
        <pc:spChg chg="ord">
          <ac:chgData name="April Durrence" userId="2314a7d0-99d3-4144-8a7f-648170c8b7b7" providerId="ADAL" clId="{EAE80DB9-CB43-4440-9E5C-0B0573E509B3}" dt="2026-06-08T16:06:49.362" v="714" actId="13244"/>
          <ac:spMkLst>
            <pc:docMk/>
            <pc:sldMk cId="4106372603" sldId="2145704763"/>
            <ac:spMk id="36" creationId="{FC41D506-63AD-6A02-8A95-38338BD42882}"/>
          </ac:spMkLst>
        </pc:spChg>
        <pc:picChg chg="mod ord">
          <ac:chgData name="April Durrence" userId="2314a7d0-99d3-4144-8a7f-648170c8b7b7" providerId="ADAL" clId="{EAE80DB9-CB43-4440-9E5C-0B0573E509B3}" dt="2026-06-08T16:07:31.895" v="723" actId="962"/>
          <ac:picMkLst>
            <pc:docMk/>
            <pc:sldMk cId="4106372603" sldId="2145704763"/>
            <ac:picMk id="3" creationId="{A13302F6-F571-6E09-18C0-AB9CB60DE854}"/>
          </ac:picMkLst>
        </pc:picChg>
        <pc:picChg chg="mod ord">
          <ac:chgData name="April Durrence" userId="2314a7d0-99d3-4144-8a7f-648170c8b7b7" providerId="ADAL" clId="{EAE80DB9-CB43-4440-9E5C-0B0573E509B3}" dt="2026-06-08T16:06:58.962" v="717" actId="13244"/>
          <ac:picMkLst>
            <pc:docMk/>
            <pc:sldMk cId="4106372603" sldId="2145704763"/>
            <ac:picMk id="7" creationId="{1EF74D94-8486-978B-D963-AC4AE076C7BC}"/>
          </ac:picMkLst>
        </pc:picChg>
        <pc:cxnChg chg="mod">
          <ac:chgData name="April Durrence" userId="2314a7d0-99d3-4144-8a7f-648170c8b7b7" providerId="ADAL" clId="{EAE80DB9-CB43-4440-9E5C-0B0573E509B3}" dt="2026-06-08T16:07:23.586" v="721" actId="962"/>
          <ac:cxnSpMkLst>
            <pc:docMk/>
            <pc:sldMk cId="4106372603" sldId="2145704763"/>
            <ac:cxnSpMk id="5" creationId="{3D6D71AF-616E-5B40-D990-AC35C0F06D9B}"/>
          </ac:cxnSpMkLst>
        </pc:cxnChg>
      </pc:sldChg>
      <pc:sldChg chg="delSp modSp mod">
        <pc:chgData name="April Durrence" userId="2314a7d0-99d3-4144-8a7f-648170c8b7b7" providerId="ADAL" clId="{EAE80DB9-CB43-4440-9E5C-0B0573E509B3}" dt="2026-06-08T16:08:05.071" v="725" actId="6549"/>
        <pc:sldMkLst>
          <pc:docMk/>
          <pc:sldMk cId="2383502347" sldId="2145704765"/>
        </pc:sldMkLst>
        <pc:spChg chg="ord">
          <ac:chgData name="April Durrence" userId="2314a7d0-99d3-4144-8a7f-648170c8b7b7" providerId="ADAL" clId="{EAE80DB9-CB43-4440-9E5C-0B0573E509B3}" dt="2026-06-05T17:39:53.262" v="203" actId="13244"/>
          <ac:spMkLst>
            <pc:docMk/>
            <pc:sldMk cId="2383502347" sldId="2145704765"/>
            <ac:spMk id="2" creationId="{9AA59A77-2738-4C3E-A234-59B71597E308}"/>
          </ac:spMkLst>
        </pc:spChg>
        <pc:spChg chg="mod ord">
          <ac:chgData name="April Durrence" userId="2314a7d0-99d3-4144-8a7f-648170c8b7b7" providerId="ADAL" clId="{EAE80DB9-CB43-4440-9E5C-0B0573E509B3}" dt="2026-06-05T17:39:39.236" v="200" actId="13244"/>
          <ac:spMkLst>
            <pc:docMk/>
            <pc:sldMk cId="2383502347" sldId="2145704765"/>
            <ac:spMk id="4" creationId="{1216F363-8296-0686-2A19-5CF96802F7F4}"/>
          </ac:spMkLst>
        </pc:spChg>
        <pc:spChg chg="mod ord">
          <ac:chgData name="April Durrence" userId="2314a7d0-99d3-4144-8a7f-648170c8b7b7" providerId="ADAL" clId="{EAE80DB9-CB43-4440-9E5C-0B0573E509B3}" dt="2026-06-08T16:08:05.071" v="725" actId="6549"/>
          <ac:spMkLst>
            <pc:docMk/>
            <pc:sldMk cId="2383502347" sldId="2145704765"/>
            <ac:spMk id="10" creationId="{3EABFF99-24B6-F09B-CFE2-6BC2A67E9F65}"/>
          </ac:spMkLst>
        </pc:spChg>
        <pc:spChg chg="ord">
          <ac:chgData name="April Durrence" userId="2314a7d0-99d3-4144-8a7f-648170c8b7b7" providerId="ADAL" clId="{EAE80DB9-CB43-4440-9E5C-0B0573E509B3}" dt="2026-06-05T17:39:45.685" v="201" actId="13244"/>
          <ac:spMkLst>
            <pc:docMk/>
            <pc:sldMk cId="2383502347" sldId="2145704765"/>
            <ac:spMk id="36" creationId="{77E98575-8F90-1B4C-DEAE-7910771C51CB}"/>
          </ac:spMkLst>
        </pc:spChg>
        <pc:picChg chg="mod ord">
          <ac:chgData name="April Durrence" userId="2314a7d0-99d3-4144-8a7f-648170c8b7b7" providerId="ADAL" clId="{EAE80DB9-CB43-4440-9E5C-0B0573E509B3}" dt="2026-06-05T17:40:06.491" v="207" actId="962"/>
          <ac:picMkLst>
            <pc:docMk/>
            <pc:sldMk cId="2383502347" sldId="2145704765"/>
            <ac:picMk id="6" creationId="{57F340F4-905B-4258-077F-834BFBAC1E2F}"/>
          </ac:picMkLst>
        </pc:picChg>
        <pc:picChg chg="mod ord">
          <ac:chgData name="April Durrence" userId="2314a7d0-99d3-4144-8a7f-648170c8b7b7" providerId="ADAL" clId="{EAE80DB9-CB43-4440-9E5C-0B0573E509B3}" dt="2026-06-05T17:40:01.724" v="205" actId="13244"/>
          <ac:picMkLst>
            <pc:docMk/>
            <pc:sldMk cId="2383502347" sldId="2145704765"/>
            <ac:picMk id="7" creationId="{D431EFC8-72A2-8FA1-8BE4-CE4351423D9F}"/>
          </ac:picMkLst>
        </pc:picChg>
        <pc:cxnChg chg="mod">
          <ac:chgData name="April Durrence" userId="2314a7d0-99d3-4144-8a7f-648170c8b7b7" providerId="ADAL" clId="{EAE80DB9-CB43-4440-9E5C-0B0573E509B3}" dt="2026-06-05T17:40:20.370" v="209" actId="962"/>
          <ac:cxnSpMkLst>
            <pc:docMk/>
            <pc:sldMk cId="2383502347" sldId="2145704765"/>
            <ac:cxnSpMk id="5" creationId="{3A25880F-2BC3-AF69-E801-F8E673108A6B}"/>
          </ac:cxnSpMkLst>
        </pc:cxnChg>
      </pc:sldChg>
      <pc:sldChg chg="modSp mod">
        <pc:chgData name="April Durrence" userId="2314a7d0-99d3-4144-8a7f-648170c8b7b7" providerId="ADAL" clId="{EAE80DB9-CB43-4440-9E5C-0B0573E509B3}" dt="2026-06-08T20:47:07.478" v="2435" actId="14100"/>
        <pc:sldMkLst>
          <pc:docMk/>
          <pc:sldMk cId="468501967" sldId="2145704767"/>
        </pc:sldMkLst>
        <pc:spChg chg="mod ord">
          <ac:chgData name="April Durrence" userId="2314a7d0-99d3-4144-8a7f-648170c8b7b7" providerId="ADAL" clId="{EAE80DB9-CB43-4440-9E5C-0B0573E509B3}" dt="2026-06-08T19:27:09.297" v="2431" actId="13244"/>
          <ac:spMkLst>
            <pc:docMk/>
            <pc:sldMk cId="468501967" sldId="2145704767"/>
            <ac:spMk id="3" creationId="{D2A142E8-2420-6834-72F0-831CB994163B}"/>
          </ac:spMkLst>
        </pc:spChg>
        <pc:spChg chg="mod">
          <ac:chgData name="April Durrence" userId="2314a7d0-99d3-4144-8a7f-648170c8b7b7" providerId="ADAL" clId="{EAE80DB9-CB43-4440-9E5C-0B0573E509B3}" dt="2026-06-08T20:47:07.478" v="2435" actId="14100"/>
          <ac:spMkLst>
            <pc:docMk/>
            <pc:sldMk cId="468501967" sldId="2145704767"/>
            <ac:spMk id="4" creationId="{98A1BBF9-E115-DD22-8E9F-1DEC3D98B994}"/>
          </ac:spMkLst>
        </pc:spChg>
        <pc:picChg chg="mod">
          <ac:chgData name="April Durrence" userId="2314a7d0-99d3-4144-8a7f-648170c8b7b7" providerId="ADAL" clId="{EAE80DB9-CB43-4440-9E5C-0B0573E509B3}" dt="2026-06-08T17:43:23.690" v="1905" actId="962"/>
          <ac:picMkLst>
            <pc:docMk/>
            <pc:sldMk cId="468501967" sldId="2145704767"/>
            <ac:picMk id="11" creationId="{250698FD-42A3-727B-18BD-678F0A42D7C7}"/>
          </ac:picMkLst>
        </pc:picChg>
      </pc:sldChg>
      <pc:sldChg chg="modSp mod">
        <pc:chgData name="April Durrence" userId="2314a7d0-99d3-4144-8a7f-648170c8b7b7" providerId="ADAL" clId="{EAE80DB9-CB43-4440-9E5C-0B0573E509B3}" dt="2026-06-11T17:12:35.735" v="2463" actId="962"/>
        <pc:sldMkLst>
          <pc:docMk/>
          <pc:sldMk cId="432795061" sldId="2145704778"/>
        </pc:sldMkLst>
        <pc:spChg chg="mod ord">
          <ac:chgData name="April Durrence" userId="2314a7d0-99d3-4144-8a7f-648170c8b7b7" providerId="ADAL" clId="{EAE80DB9-CB43-4440-9E5C-0B0573E509B3}" dt="2026-06-08T19:21:02.363" v="2407" actId="13244"/>
          <ac:spMkLst>
            <pc:docMk/>
            <pc:sldMk cId="432795061" sldId="2145704778"/>
            <ac:spMk id="3" creationId="{7D672AFD-E32E-2454-8B77-A7E256A0FA36}"/>
          </ac:spMkLst>
        </pc:spChg>
        <pc:spChg chg="mod">
          <ac:chgData name="April Durrence" userId="2314a7d0-99d3-4144-8a7f-648170c8b7b7" providerId="ADAL" clId="{EAE80DB9-CB43-4440-9E5C-0B0573E509B3}" dt="2026-06-08T20:47:43.146" v="2438" actId="208"/>
          <ac:spMkLst>
            <pc:docMk/>
            <pc:sldMk cId="432795061" sldId="2145704778"/>
            <ac:spMk id="5" creationId="{1161E6A2-B608-521B-48B8-4DA957DE7CCB}"/>
          </ac:spMkLst>
        </pc:spChg>
        <pc:spChg chg="mod ord">
          <ac:chgData name="April Durrence" userId="2314a7d0-99d3-4144-8a7f-648170c8b7b7" providerId="ADAL" clId="{EAE80DB9-CB43-4440-9E5C-0B0573E509B3}" dt="2026-06-08T19:24:42.279" v="2428" actId="1076"/>
          <ac:spMkLst>
            <pc:docMk/>
            <pc:sldMk cId="432795061" sldId="2145704778"/>
            <ac:spMk id="21" creationId="{F29AF568-97A9-AD36-5C67-BEA95E943BFC}"/>
          </ac:spMkLst>
        </pc:spChg>
        <pc:picChg chg="mod">
          <ac:chgData name="April Durrence" userId="2314a7d0-99d3-4144-8a7f-648170c8b7b7" providerId="ADAL" clId="{EAE80DB9-CB43-4440-9E5C-0B0573E509B3}" dt="2026-06-11T17:12:35.735" v="2463" actId="962"/>
          <ac:picMkLst>
            <pc:docMk/>
            <pc:sldMk cId="432795061" sldId="2145704778"/>
            <ac:picMk id="20" creationId="{F7D07169-03D4-D332-B855-776FFE8E2D3E}"/>
          </ac:picMkLst>
        </pc:picChg>
      </pc:sldChg>
      <pc:sldChg chg="modSp mod">
        <pc:chgData name="April Durrence" userId="2314a7d0-99d3-4144-8a7f-648170c8b7b7" providerId="ADAL" clId="{EAE80DB9-CB43-4440-9E5C-0B0573E509B3}" dt="2026-06-08T18:51:52.198" v="2298" actId="962"/>
        <pc:sldMkLst>
          <pc:docMk/>
          <pc:sldMk cId="1600318443" sldId="2145704779"/>
        </pc:sldMkLst>
        <pc:spChg chg="mod ord">
          <ac:chgData name="April Durrence" userId="2314a7d0-99d3-4144-8a7f-648170c8b7b7" providerId="ADAL" clId="{EAE80DB9-CB43-4440-9E5C-0B0573E509B3}" dt="2026-06-05T16:48:16.645" v="1" actId="13244"/>
          <ac:spMkLst>
            <pc:docMk/>
            <pc:sldMk cId="1600318443" sldId="2145704779"/>
            <ac:spMk id="2" creationId="{FC219336-84E6-DEDB-24BC-E65536D13748}"/>
          </ac:spMkLst>
        </pc:spChg>
        <pc:grpChg chg="mod">
          <ac:chgData name="April Durrence" userId="2314a7d0-99d3-4144-8a7f-648170c8b7b7" providerId="ADAL" clId="{EAE80DB9-CB43-4440-9E5C-0B0573E509B3}" dt="2026-06-08T18:50:41.890" v="2290" actId="962"/>
          <ac:grpSpMkLst>
            <pc:docMk/>
            <pc:sldMk cId="1600318443" sldId="2145704779"/>
            <ac:grpSpMk id="6" creationId="{C96E90B0-DBA6-B8A2-8E1D-C18174BA2A83}"/>
          </ac:grpSpMkLst>
        </pc:grpChg>
        <pc:grpChg chg="mod">
          <ac:chgData name="April Durrence" userId="2314a7d0-99d3-4144-8a7f-648170c8b7b7" providerId="ADAL" clId="{EAE80DB9-CB43-4440-9E5C-0B0573E509B3}" dt="2026-06-08T18:51:00.946" v="2292" actId="962"/>
          <ac:grpSpMkLst>
            <pc:docMk/>
            <pc:sldMk cId="1600318443" sldId="2145704779"/>
            <ac:grpSpMk id="12" creationId="{7C5DB2B2-48B9-D0DA-86D8-48760FCBDD8C}"/>
          </ac:grpSpMkLst>
        </pc:grpChg>
        <pc:grpChg chg="mod ord">
          <ac:chgData name="April Durrence" userId="2314a7d0-99d3-4144-8a7f-648170c8b7b7" providerId="ADAL" clId="{EAE80DB9-CB43-4440-9E5C-0B0573E509B3}" dt="2026-06-08T18:51:52.198" v="2298" actId="962"/>
          <ac:grpSpMkLst>
            <pc:docMk/>
            <pc:sldMk cId="1600318443" sldId="2145704779"/>
            <ac:grpSpMk id="14" creationId="{5C126C0F-3526-6420-509F-736A6C210186}"/>
          </ac:grpSpMkLst>
        </pc:grpChg>
        <pc:grpChg chg="mod ord">
          <ac:chgData name="April Durrence" userId="2314a7d0-99d3-4144-8a7f-648170c8b7b7" providerId="ADAL" clId="{EAE80DB9-CB43-4440-9E5C-0B0573E509B3}" dt="2026-06-08T18:51:38.941" v="2296" actId="962"/>
          <ac:grpSpMkLst>
            <pc:docMk/>
            <pc:sldMk cId="1600318443" sldId="2145704779"/>
            <ac:grpSpMk id="17" creationId="{3CC67E1C-8D30-5BB9-5E5C-72B92B74EC86}"/>
          </ac:grpSpMkLst>
        </pc:grpChg>
        <pc:grpChg chg="mod ord">
          <ac:chgData name="April Durrence" userId="2314a7d0-99d3-4144-8a7f-648170c8b7b7" providerId="ADAL" clId="{EAE80DB9-CB43-4440-9E5C-0B0573E509B3}" dt="2026-06-08T18:51:28.418" v="2294" actId="962"/>
          <ac:grpSpMkLst>
            <pc:docMk/>
            <pc:sldMk cId="1600318443" sldId="2145704779"/>
            <ac:grpSpMk id="42" creationId="{9A6F5478-0D72-0742-9D10-08B8CB18D7F0}"/>
          </ac:grpSpMkLst>
        </pc:grpChg>
        <pc:picChg chg="mod ord">
          <ac:chgData name="April Durrence" userId="2314a7d0-99d3-4144-8a7f-648170c8b7b7" providerId="ADAL" clId="{EAE80DB9-CB43-4440-9E5C-0B0573E509B3}" dt="2026-06-05T16:50:24.169" v="9" actId="13244"/>
          <ac:picMkLst>
            <pc:docMk/>
            <pc:sldMk cId="1600318443" sldId="2145704779"/>
            <ac:picMk id="3" creationId="{2E23AEDB-E45F-8B27-E195-5A8A1871E687}"/>
          </ac:picMkLst>
        </pc:picChg>
        <pc:picChg chg="mod ord">
          <ac:chgData name="April Durrence" userId="2314a7d0-99d3-4144-8a7f-648170c8b7b7" providerId="ADAL" clId="{EAE80DB9-CB43-4440-9E5C-0B0573E509B3}" dt="2026-06-05T16:51:28.045" v="17" actId="962"/>
          <ac:picMkLst>
            <pc:docMk/>
            <pc:sldMk cId="1600318443" sldId="2145704779"/>
            <ac:picMk id="4" creationId="{52B19F42-9987-AD16-E129-0A1E499D13E4}"/>
          </ac:picMkLst>
        </pc:picChg>
        <pc:picChg chg="mod">
          <ac:chgData name="April Durrence" userId="2314a7d0-99d3-4144-8a7f-648170c8b7b7" providerId="ADAL" clId="{EAE80DB9-CB43-4440-9E5C-0B0573E509B3}" dt="2026-06-05T16:51:37.548" v="19" actId="962"/>
          <ac:picMkLst>
            <pc:docMk/>
            <pc:sldMk cId="1600318443" sldId="2145704779"/>
            <ac:picMk id="11" creationId="{8416D005-1A16-37D6-AF99-31515EC01E73}"/>
          </ac:picMkLst>
        </pc:picChg>
        <pc:picChg chg="mod">
          <ac:chgData name="April Durrence" userId="2314a7d0-99d3-4144-8a7f-648170c8b7b7" providerId="ADAL" clId="{EAE80DB9-CB43-4440-9E5C-0B0573E509B3}" dt="2026-06-05T16:51:32.924" v="18" actId="962"/>
          <ac:picMkLst>
            <pc:docMk/>
            <pc:sldMk cId="1600318443" sldId="2145704779"/>
            <ac:picMk id="20" creationId="{E983C9AF-0903-8364-FAD3-BBB829941239}"/>
          </ac:picMkLst>
        </pc:picChg>
        <pc:picChg chg="mod ord">
          <ac:chgData name="April Durrence" userId="2314a7d0-99d3-4144-8a7f-648170c8b7b7" providerId="ADAL" clId="{EAE80DB9-CB43-4440-9E5C-0B0573E509B3}" dt="2026-06-05T16:51:15.518" v="16" actId="962"/>
          <ac:picMkLst>
            <pc:docMk/>
            <pc:sldMk cId="1600318443" sldId="2145704779"/>
            <ac:picMk id="56" creationId="{03D7B004-1C00-46A5-BAB2-93F3676FB1B9}"/>
          </ac:picMkLst>
        </pc:picChg>
      </pc:sldChg>
      <pc:sldChg chg="modSp mod">
        <pc:chgData name="April Durrence" userId="2314a7d0-99d3-4144-8a7f-648170c8b7b7" providerId="ADAL" clId="{EAE80DB9-CB43-4440-9E5C-0B0573E509B3}" dt="2026-06-08T19:14:00.665" v="2341" actId="20577"/>
        <pc:sldMkLst>
          <pc:docMk/>
          <pc:sldMk cId="3478983212" sldId="2145704780"/>
        </pc:sldMkLst>
        <pc:spChg chg="mod ord">
          <ac:chgData name="April Durrence" userId="2314a7d0-99d3-4144-8a7f-648170c8b7b7" providerId="ADAL" clId="{EAE80DB9-CB43-4440-9E5C-0B0573E509B3}" dt="2026-06-08T17:51:08.884" v="1947" actId="13244"/>
          <ac:spMkLst>
            <pc:docMk/>
            <pc:sldMk cId="3478983212" sldId="2145704780"/>
            <ac:spMk id="3" creationId="{A767DB85-893F-7E26-9C70-1D7F4228DCC5}"/>
          </ac:spMkLst>
        </pc:spChg>
        <pc:spChg chg="mod">
          <ac:chgData name="April Durrence" userId="2314a7d0-99d3-4144-8a7f-648170c8b7b7" providerId="ADAL" clId="{EAE80DB9-CB43-4440-9E5C-0B0573E509B3}" dt="2026-06-08T19:14:00.665" v="2341" actId="20577"/>
          <ac:spMkLst>
            <pc:docMk/>
            <pc:sldMk cId="3478983212" sldId="2145704780"/>
            <ac:spMk id="4" creationId="{D76A27F5-9402-3B42-C908-58B260B8A59F}"/>
          </ac:spMkLst>
        </pc:spChg>
      </pc:sldChg>
      <pc:sldChg chg="modSp mod">
        <pc:chgData name="April Durrence" userId="2314a7d0-99d3-4144-8a7f-648170c8b7b7" providerId="ADAL" clId="{EAE80DB9-CB43-4440-9E5C-0B0573E509B3}" dt="2026-06-08T18:51:56.280" v="2299" actId="962"/>
        <pc:sldMkLst>
          <pc:docMk/>
          <pc:sldMk cId="534442312" sldId="2145704788"/>
        </pc:sldMkLst>
        <pc:spChg chg="mod">
          <ac:chgData name="April Durrence" userId="2314a7d0-99d3-4144-8a7f-648170c8b7b7" providerId="ADAL" clId="{EAE80DB9-CB43-4440-9E5C-0B0573E509B3}" dt="2026-06-05T17:15:02.592" v="49" actId="12"/>
          <ac:spMkLst>
            <pc:docMk/>
            <pc:sldMk cId="534442312" sldId="2145704788"/>
            <ac:spMk id="3" creationId="{68FF9FB2-A89E-378C-222C-3C1D752A3414}"/>
          </ac:spMkLst>
        </pc:spChg>
        <pc:picChg chg="mod">
          <ac:chgData name="April Durrence" userId="2314a7d0-99d3-4144-8a7f-648170c8b7b7" providerId="ADAL" clId="{EAE80DB9-CB43-4440-9E5C-0B0573E509B3}" dt="2026-06-08T18:51:56.280" v="2299" actId="962"/>
          <ac:picMkLst>
            <pc:docMk/>
            <pc:sldMk cId="534442312" sldId="2145704788"/>
            <ac:picMk id="5" creationId="{B90AEA26-064F-29B2-72C0-2F7C60A2C060}"/>
          </ac:picMkLst>
        </pc:picChg>
      </pc:sldChg>
      <pc:sldChg chg="delSp modSp mod">
        <pc:chgData name="April Durrence" userId="2314a7d0-99d3-4144-8a7f-648170c8b7b7" providerId="ADAL" clId="{EAE80DB9-CB43-4440-9E5C-0B0573E509B3}" dt="2026-06-08T18:52:15.660" v="2302" actId="478"/>
        <pc:sldMkLst>
          <pc:docMk/>
          <pc:sldMk cId="3497312530" sldId="2145704790"/>
        </pc:sldMkLst>
        <pc:spChg chg="mod">
          <ac:chgData name="April Durrence" userId="2314a7d0-99d3-4144-8a7f-648170c8b7b7" providerId="ADAL" clId="{EAE80DB9-CB43-4440-9E5C-0B0573E509B3}" dt="2026-06-08T16:06:23.518" v="710" actId="20577"/>
          <ac:spMkLst>
            <pc:docMk/>
            <pc:sldMk cId="3497312530" sldId="2145704790"/>
            <ac:spMk id="3" creationId="{707DBBFD-F667-479D-ED44-22AAF80EC3B3}"/>
          </ac:spMkLst>
        </pc:spChg>
        <pc:spChg chg="mod ord">
          <ac:chgData name="April Durrence" userId="2314a7d0-99d3-4144-8a7f-648170c8b7b7" providerId="ADAL" clId="{EAE80DB9-CB43-4440-9E5C-0B0573E509B3}" dt="2026-06-08T15:50:17.964" v="248" actId="13244"/>
          <ac:spMkLst>
            <pc:docMk/>
            <pc:sldMk cId="3497312530" sldId="2145704790"/>
            <ac:spMk id="4" creationId="{829262BE-9B9B-1190-97F0-7C72720A7E35}"/>
          </ac:spMkLst>
        </pc:spChg>
        <pc:picChg chg="mod">
          <ac:chgData name="April Durrence" userId="2314a7d0-99d3-4144-8a7f-648170c8b7b7" providerId="ADAL" clId="{EAE80DB9-CB43-4440-9E5C-0B0573E509B3}" dt="2026-06-08T16:05:53.152" v="707" actId="962"/>
          <ac:picMkLst>
            <pc:docMk/>
            <pc:sldMk cId="3497312530" sldId="2145704790"/>
            <ac:picMk id="6" creationId="{8F3DCB52-4272-9317-69F3-2E1100C280F4}"/>
          </ac:picMkLst>
        </pc:picChg>
        <pc:picChg chg="mod">
          <ac:chgData name="April Durrence" userId="2314a7d0-99d3-4144-8a7f-648170c8b7b7" providerId="ADAL" clId="{EAE80DB9-CB43-4440-9E5C-0B0573E509B3}" dt="2026-06-08T18:52:07.063" v="2301" actId="962"/>
          <ac:picMkLst>
            <pc:docMk/>
            <pc:sldMk cId="3497312530" sldId="2145704790"/>
            <ac:picMk id="7" creationId="{8D08BECE-37AA-0ADC-C20F-53865CE0BCD6}"/>
          </ac:picMkLst>
        </pc:picChg>
        <pc:picChg chg="mod">
          <ac:chgData name="April Durrence" userId="2314a7d0-99d3-4144-8a7f-648170c8b7b7" providerId="ADAL" clId="{EAE80DB9-CB43-4440-9E5C-0B0573E509B3}" dt="2026-06-08T16:04:44.095" v="569" actId="962"/>
          <ac:picMkLst>
            <pc:docMk/>
            <pc:sldMk cId="3497312530" sldId="2145704790"/>
            <ac:picMk id="10" creationId="{54FEE1DD-CDBB-DDD6-EF16-92A8EC157E13}"/>
          </ac:picMkLst>
        </pc:picChg>
      </pc:sldChg>
      <pc:sldChg chg="delSp modSp mod">
        <pc:chgData name="April Durrence" userId="2314a7d0-99d3-4144-8a7f-648170c8b7b7" providerId="ADAL" clId="{EAE80DB9-CB43-4440-9E5C-0B0573E509B3}" dt="2026-06-08T18:48:21.617" v="2278" actId="962"/>
        <pc:sldMkLst>
          <pc:docMk/>
          <pc:sldMk cId="101929249" sldId="2145704795"/>
        </pc:sldMkLst>
        <pc:spChg chg="mod ord">
          <ac:chgData name="April Durrence" userId="2314a7d0-99d3-4144-8a7f-648170c8b7b7" providerId="ADAL" clId="{EAE80DB9-CB43-4440-9E5C-0B0573E509B3}" dt="2026-06-08T17:51:40.389" v="1949" actId="13244"/>
          <ac:spMkLst>
            <pc:docMk/>
            <pc:sldMk cId="101929249" sldId="2145704795"/>
            <ac:spMk id="4" creationId="{247DDCF1-0456-EC44-0C58-7B4070E3DED2}"/>
          </ac:spMkLst>
        </pc:spChg>
        <pc:spChg chg="mod">
          <ac:chgData name="April Durrence" userId="2314a7d0-99d3-4144-8a7f-648170c8b7b7" providerId="ADAL" clId="{EAE80DB9-CB43-4440-9E5C-0B0573E509B3}" dt="2026-06-08T17:48:28.539" v="1932" actId="20577"/>
          <ac:spMkLst>
            <pc:docMk/>
            <pc:sldMk cId="101929249" sldId="2145704795"/>
            <ac:spMk id="5" creationId="{D3EB1A55-D3ED-2440-A368-D839F10BB8E1}"/>
          </ac:spMkLst>
        </pc:spChg>
        <pc:picChg chg="mod">
          <ac:chgData name="April Durrence" userId="2314a7d0-99d3-4144-8a7f-648170c8b7b7" providerId="ADAL" clId="{EAE80DB9-CB43-4440-9E5C-0B0573E509B3}" dt="2026-06-08T18:44:13.680" v="2100" actId="962"/>
          <ac:picMkLst>
            <pc:docMk/>
            <pc:sldMk cId="101929249" sldId="2145704795"/>
            <ac:picMk id="9" creationId="{F2707044-8DC0-88AE-A5AA-E79C32326D45}"/>
          </ac:picMkLst>
        </pc:picChg>
        <pc:picChg chg="mod">
          <ac:chgData name="April Durrence" userId="2314a7d0-99d3-4144-8a7f-648170c8b7b7" providerId="ADAL" clId="{EAE80DB9-CB43-4440-9E5C-0B0573E509B3}" dt="2026-06-08T18:48:21.617" v="2278" actId="962"/>
          <ac:picMkLst>
            <pc:docMk/>
            <pc:sldMk cId="101929249" sldId="2145704795"/>
            <ac:picMk id="11" creationId="{8E4F6A71-25F3-FEB9-B625-A540F0706BFF}"/>
          </ac:picMkLst>
        </pc:picChg>
      </pc:sldChg>
      <pc:sldChg chg="modSp mod">
        <pc:chgData name="April Durrence" userId="2314a7d0-99d3-4144-8a7f-648170c8b7b7" providerId="ADAL" clId="{EAE80DB9-CB43-4440-9E5C-0B0573E509B3}" dt="2026-06-08T19:20:56.501" v="2405" actId="13244"/>
        <pc:sldMkLst>
          <pc:docMk/>
          <pc:sldMk cId="1027825404" sldId="2145704805"/>
        </pc:sldMkLst>
        <pc:spChg chg="mod">
          <ac:chgData name="April Durrence" userId="2314a7d0-99d3-4144-8a7f-648170c8b7b7" providerId="ADAL" clId="{EAE80DB9-CB43-4440-9E5C-0B0573E509B3}" dt="2026-06-08T19:20:35.417" v="2399" actId="20577"/>
          <ac:spMkLst>
            <pc:docMk/>
            <pc:sldMk cId="1027825404" sldId="2145704805"/>
            <ac:spMk id="2" creationId="{9838E70F-F8DC-823A-9CCE-6067310D7A85}"/>
          </ac:spMkLst>
        </pc:spChg>
        <pc:spChg chg="mod ord">
          <ac:chgData name="April Durrence" userId="2314a7d0-99d3-4144-8a7f-648170c8b7b7" providerId="ADAL" clId="{EAE80DB9-CB43-4440-9E5C-0B0573E509B3}" dt="2026-06-08T19:20:51.800" v="2404" actId="13244"/>
          <ac:spMkLst>
            <pc:docMk/>
            <pc:sldMk cId="1027825404" sldId="2145704805"/>
            <ac:spMk id="3" creationId="{550FC300-B3F9-2D77-4CEB-E99E6EBD8C7A}"/>
          </ac:spMkLst>
        </pc:spChg>
        <pc:spChg chg="ord">
          <ac:chgData name="April Durrence" userId="2314a7d0-99d3-4144-8a7f-648170c8b7b7" providerId="ADAL" clId="{EAE80DB9-CB43-4440-9E5C-0B0573E509B3}" dt="2026-06-08T19:20:56.501" v="2405" actId="13244"/>
          <ac:spMkLst>
            <pc:docMk/>
            <pc:sldMk cId="1027825404" sldId="2145704805"/>
            <ac:spMk id="5" creationId="{309B0438-2AB8-EA50-7537-0D744163A36F}"/>
          </ac:spMkLst>
        </pc:spChg>
        <pc:picChg chg="mod">
          <ac:chgData name="April Durrence" userId="2314a7d0-99d3-4144-8a7f-648170c8b7b7" providerId="ADAL" clId="{EAE80DB9-CB43-4440-9E5C-0B0573E509B3}" dt="2026-06-08T16:46:01.335" v="1679" actId="962"/>
          <ac:picMkLst>
            <pc:docMk/>
            <pc:sldMk cId="1027825404" sldId="2145704805"/>
            <ac:picMk id="2049" creationId="{C043C367-71F6-E270-0B3F-02710984CC23}"/>
          </ac:picMkLst>
        </pc:picChg>
      </pc:sldChg>
      <pc:sldChg chg="modSp mod">
        <pc:chgData name="April Durrence" userId="2314a7d0-99d3-4144-8a7f-648170c8b7b7" providerId="ADAL" clId="{EAE80DB9-CB43-4440-9E5C-0B0573E509B3}" dt="2026-06-08T18:55:25.648" v="2304" actId="962"/>
        <pc:sldMkLst>
          <pc:docMk/>
          <pc:sldMk cId="1779630167" sldId="2145704806"/>
        </pc:sldMkLst>
        <pc:spChg chg="mod ord">
          <ac:chgData name="April Durrence" userId="2314a7d0-99d3-4144-8a7f-648170c8b7b7" providerId="ADAL" clId="{EAE80DB9-CB43-4440-9E5C-0B0573E509B3}" dt="2026-06-08T16:12:24.992" v="747" actId="13244"/>
          <ac:spMkLst>
            <pc:docMk/>
            <pc:sldMk cId="1779630167" sldId="2145704806"/>
            <ac:spMk id="4" creationId="{AE0D89E5-2BDF-7AD5-9B10-098BF09ACCED}"/>
          </ac:spMkLst>
        </pc:spChg>
        <pc:graphicFrameChg chg="mod">
          <ac:chgData name="April Durrence" userId="2314a7d0-99d3-4144-8a7f-648170c8b7b7" providerId="ADAL" clId="{EAE80DB9-CB43-4440-9E5C-0B0573E509B3}" dt="2026-06-08T18:55:25.648" v="2304" actId="962"/>
          <ac:graphicFrameMkLst>
            <pc:docMk/>
            <pc:sldMk cId="1779630167" sldId="2145704806"/>
            <ac:graphicFrameMk id="6" creationId="{787648AD-B312-B349-AF4C-ECE5A971ADF1}"/>
          </ac:graphicFrameMkLst>
        </pc:graphicFrameChg>
      </pc:sldChg>
      <pc:sldChg chg="modSp mod">
        <pc:chgData name="April Durrence" userId="2314a7d0-99d3-4144-8a7f-648170c8b7b7" providerId="ADAL" clId="{EAE80DB9-CB43-4440-9E5C-0B0573E509B3}" dt="2026-06-08T18:56:47.281" v="2306" actId="962"/>
        <pc:sldMkLst>
          <pc:docMk/>
          <pc:sldMk cId="3094521090" sldId="2145704807"/>
        </pc:sldMkLst>
        <pc:graphicFrameChg chg="mod">
          <ac:chgData name="April Durrence" userId="2314a7d0-99d3-4144-8a7f-648170c8b7b7" providerId="ADAL" clId="{EAE80DB9-CB43-4440-9E5C-0B0573E509B3}" dt="2026-06-08T18:56:47.281" v="2306" actId="962"/>
          <ac:graphicFrameMkLst>
            <pc:docMk/>
            <pc:sldMk cId="3094521090" sldId="2145704807"/>
            <ac:graphicFrameMk id="6" creationId="{7719ED94-ED06-0DBB-5910-C1A84DA0BD90}"/>
          </ac:graphicFrameMkLst>
        </pc:graphicFrameChg>
      </pc:sldChg>
      <pc:sldChg chg="modSp mod">
        <pc:chgData name="April Durrence" userId="2314a7d0-99d3-4144-8a7f-648170c8b7b7" providerId="ADAL" clId="{EAE80DB9-CB43-4440-9E5C-0B0573E509B3}" dt="2026-06-08T17:50:56.074" v="1945" actId="13244"/>
        <pc:sldMkLst>
          <pc:docMk/>
          <pc:sldMk cId="3386680358" sldId="2145704808"/>
        </pc:sldMkLst>
        <pc:spChg chg="mod ord">
          <ac:chgData name="April Durrence" userId="2314a7d0-99d3-4144-8a7f-648170c8b7b7" providerId="ADAL" clId="{EAE80DB9-CB43-4440-9E5C-0B0573E509B3}" dt="2026-06-08T17:50:56.074" v="1945" actId="13244"/>
          <ac:spMkLst>
            <pc:docMk/>
            <pc:sldMk cId="3386680358" sldId="2145704808"/>
            <ac:spMk id="3" creationId="{915345A3-3A8F-3F2D-EB05-8E0A002D66B8}"/>
          </ac:spMkLst>
        </pc:spChg>
        <pc:spChg chg="mod">
          <ac:chgData name="April Durrence" userId="2314a7d0-99d3-4144-8a7f-648170c8b7b7" providerId="ADAL" clId="{EAE80DB9-CB43-4440-9E5C-0B0573E509B3}" dt="2026-06-08T17:46:16.873" v="1926" actId="20577"/>
          <ac:spMkLst>
            <pc:docMk/>
            <pc:sldMk cId="3386680358" sldId="2145704808"/>
            <ac:spMk id="4" creationId="{FEC10CBE-3407-3AE7-1D6D-03156938788F}"/>
          </ac:spMkLst>
        </pc:spChg>
      </pc:sldChg>
      <pc:sldChg chg="modSp mod">
        <pc:chgData name="April Durrence" userId="2314a7d0-99d3-4144-8a7f-648170c8b7b7" providerId="ADAL" clId="{EAE80DB9-CB43-4440-9E5C-0B0573E509B3}" dt="2026-06-08T19:16:40.424" v="2365" actId="20577"/>
        <pc:sldMkLst>
          <pc:docMk/>
          <pc:sldMk cId="590738417" sldId="2145704809"/>
        </pc:sldMkLst>
        <pc:spChg chg="mod">
          <ac:chgData name="April Durrence" userId="2314a7d0-99d3-4144-8a7f-648170c8b7b7" providerId="ADAL" clId="{EAE80DB9-CB43-4440-9E5C-0B0573E509B3}" dt="2026-06-08T19:16:40.424" v="2365" actId="20577"/>
          <ac:spMkLst>
            <pc:docMk/>
            <pc:sldMk cId="590738417" sldId="2145704809"/>
            <ac:spMk id="2" creationId="{0B9BCD51-80A6-492C-0C7A-ABE79B435E9B}"/>
          </ac:spMkLst>
        </pc:spChg>
        <pc:spChg chg="mod ord">
          <ac:chgData name="April Durrence" userId="2314a7d0-99d3-4144-8a7f-648170c8b7b7" providerId="ADAL" clId="{EAE80DB9-CB43-4440-9E5C-0B0573E509B3}" dt="2026-06-05T17:37:19.797" v="183" actId="13244"/>
          <ac:spMkLst>
            <pc:docMk/>
            <pc:sldMk cId="590738417" sldId="2145704809"/>
            <ac:spMk id="4" creationId="{62650A12-8E91-63A4-408D-EE9DE4EBC7FF}"/>
          </ac:spMkLst>
        </pc:spChg>
        <pc:spChg chg="mod">
          <ac:chgData name="April Durrence" userId="2314a7d0-99d3-4144-8a7f-648170c8b7b7" providerId="ADAL" clId="{EAE80DB9-CB43-4440-9E5C-0B0573E509B3}" dt="2026-06-08T15:46:44.499" v="240" actId="20577"/>
          <ac:spMkLst>
            <pc:docMk/>
            <pc:sldMk cId="590738417" sldId="2145704809"/>
            <ac:spMk id="11" creationId="{0FB930D0-ADE4-F8B7-CE60-376E701BE8B2}"/>
          </ac:spMkLst>
        </pc:spChg>
        <pc:picChg chg="mod">
          <ac:chgData name="April Durrence" userId="2314a7d0-99d3-4144-8a7f-648170c8b7b7" providerId="ADAL" clId="{EAE80DB9-CB43-4440-9E5C-0B0573E509B3}" dt="2026-06-05T17:37:22.203" v="184" actId="962"/>
          <ac:picMkLst>
            <pc:docMk/>
            <pc:sldMk cId="590738417" sldId="2145704809"/>
            <ac:picMk id="3" creationId="{6EC3D2E1-6089-53D5-8ADF-EB31A01E4FC9}"/>
          </ac:picMkLst>
        </pc:picChg>
      </pc:sldChg>
      <pc:sldChg chg="modSp mod">
        <pc:chgData name="April Durrence" userId="2314a7d0-99d3-4144-8a7f-648170c8b7b7" providerId="ADAL" clId="{EAE80DB9-CB43-4440-9E5C-0B0573E509B3}" dt="2026-06-05T17:36:40.012" v="179" actId="962"/>
        <pc:sldMkLst>
          <pc:docMk/>
          <pc:sldMk cId="2129701108" sldId="2145704810"/>
        </pc:sldMkLst>
        <pc:spChg chg="mod ord">
          <ac:chgData name="April Durrence" userId="2314a7d0-99d3-4144-8a7f-648170c8b7b7" providerId="ADAL" clId="{EAE80DB9-CB43-4440-9E5C-0B0573E509B3}" dt="2026-06-05T17:36:37.265" v="178" actId="13244"/>
          <ac:spMkLst>
            <pc:docMk/>
            <pc:sldMk cId="2129701108" sldId="2145704810"/>
            <ac:spMk id="4" creationId="{E0293BBC-60E1-FD76-093C-9FFE2E2BE149}"/>
          </ac:spMkLst>
        </pc:spChg>
        <pc:spChg chg="mod">
          <ac:chgData name="April Durrence" userId="2314a7d0-99d3-4144-8a7f-648170c8b7b7" providerId="ADAL" clId="{EAE80DB9-CB43-4440-9E5C-0B0573E509B3}" dt="2026-06-05T17:36:11.572" v="176" actId="948"/>
          <ac:spMkLst>
            <pc:docMk/>
            <pc:sldMk cId="2129701108" sldId="2145704810"/>
            <ac:spMk id="11" creationId="{74D7ECD7-9613-1400-32F2-0D3799CC589E}"/>
          </ac:spMkLst>
        </pc:spChg>
        <pc:picChg chg="mod">
          <ac:chgData name="April Durrence" userId="2314a7d0-99d3-4144-8a7f-648170c8b7b7" providerId="ADAL" clId="{EAE80DB9-CB43-4440-9E5C-0B0573E509B3}" dt="2026-06-05T17:36:40.012" v="179" actId="962"/>
          <ac:picMkLst>
            <pc:docMk/>
            <pc:sldMk cId="2129701108" sldId="2145704810"/>
            <ac:picMk id="3" creationId="{742B5EA6-657F-7974-4C6E-563A720C5A2F}"/>
          </ac:picMkLst>
        </pc:picChg>
      </pc:sldChg>
      <pc:sldChg chg="modSp mod">
        <pc:chgData name="April Durrence" userId="2314a7d0-99d3-4144-8a7f-648170c8b7b7" providerId="ADAL" clId="{EAE80DB9-CB43-4440-9E5C-0B0573E509B3}" dt="2026-06-11T16:38:11.103" v="2445" actId="20577"/>
        <pc:sldMkLst>
          <pc:docMk/>
          <pc:sldMk cId="2898991046" sldId="2145704811"/>
        </pc:sldMkLst>
        <pc:spChg chg="mod">
          <ac:chgData name="April Durrence" userId="2314a7d0-99d3-4144-8a7f-648170c8b7b7" providerId="ADAL" clId="{EAE80DB9-CB43-4440-9E5C-0B0573E509B3}" dt="2026-06-11T16:38:11.103" v="2445" actId="20577"/>
          <ac:spMkLst>
            <pc:docMk/>
            <pc:sldMk cId="2898991046" sldId="2145704811"/>
            <ac:spMk id="2" creationId="{F18BEC4E-0C12-D3D1-3EFD-1560F56DB1FD}"/>
          </ac:spMkLst>
        </pc:spChg>
        <pc:spChg chg="mod ord">
          <ac:chgData name="April Durrence" userId="2314a7d0-99d3-4144-8a7f-648170c8b7b7" providerId="ADAL" clId="{EAE80DB9-CB43-4440-9E5C-0B0573E509B3}" dt="2026-06-05T17:38:13.333" v="188" actId="13244"/>
          <ac:spMkLst>
            <pc:docMk/>
            <pc:sldMk cId="2898991046" sldId="2145704811"/>
            <ac:spMk id="4" creationId="{631A7C3B-0DF3-925D-7877-7BBAD81CEEC3}"/>
          </ac:spMkLst>
        </pc:spChg>
        <pc:spChg chg="mod">
          <ac:chgData name="April Durrence" userId="2314a7d0-99d3-4144-8a7f-648170c8b7b7" providerId="ADAL" clId="{EAE80DB9-CB43-4440-9E5C-0B0573E509B3}" dt="2026-06-08T15:48:13.090" v="243" actId="20577"/>
          <ac:spMkLst>
            <pc:docMk/>
            <pc:sldMk cId="2898991046" sldId="2145704811"/>
            <ac:spMk id="11" creationId="{748B432D-B62C-2B4F-189E-B323A8071C25}"/>
          </ac:spMkLst>
        </pc:spChg>
        <pc:picChg chg="mod">
          <ac:chgData name="April Durrence" userId="2314a7d0-99d3-4144-8a7f-648170c8b7b7" providerId="ADAL" clId="{EAE80DB9-CB43-4440-9E5C-0B0573E509B3}" dt="2026-06-05T17:38:18.858" v="189" actId="962"/>
          <ac:picMkLst>
            <pc:docMk/>
            <pc:sldMk cId="2898991046" sldId="2145704811"/>
            <ac:picMk id="3" creationId="{D0BBAF8C-2773-9F1C-D55D-9503A90702A6}"/>
          </ac:picMkLst>
        </pc:picChg>
      </pc:sldChg>
      <pc:sldChg chg="modSp mod">
        <pc:chgData name="April Durrence" userId="2314a7d0-99d3-4144-8a7f-648170c8b7b7" providerId="ADAL" clId="{EAE80DB9-CB43-4440-9E5C-0B0573E509B3}" dt="2026-06-08T19:15:32.529" v="2354" actId="255"/>
        <pc:sldMkLst>
          <pc:docMk/>
          <pc:sldMk cId="2834166626" sldId="2145704812"/>
        </pc:sldMkLst>
        <pc:spChg chg="mod">
          <ac:chgData name="April Durrence" userId="2314a7d0-99d3-4144-8a7f-648170c8b7b7" providerId="ADAL" clId="{EAE80DB9-CB43-4440-9E5C-0B0573E509B3}" dt="2026-06-08T19:15:06.089" v="2349" actId="20577"/>
          <ac:spMkLst>
            <pc:docMk/>
            <pc:sldMk cId="2834166626" sldId="2145704812"/>
            <ac:spMk id="2" creationId="{1524EAE5-5B2E-618F-B0C5-453232D1AF51}"/>
          </ac:spMkLst>
        </pc:spChg>
        <pc:spChg chg="mod ord">
          <ac:chgData name="April Durrence" userId="2314a7d0-99d3-4144-8a7f-648170c8b7b7" providerId="ADAL" clId="{EAE80DB9-CB43-4440-9E5C-0B0573E509B3}" dt="2026-06-05T17:38:47.759" v="193" actId="13244"/>
          <ac:spMkLst>
            <pc:docMk/>
            <pc:sldMk cId="2834166626" sldId="2145704812"/>
            <ac:spMk id="4" creationId="{11B17CCE-B2A1-DFC2-0B63-84BC9F901259}"/>
          </ac:spMkLst>
        </pc:spChg>
        <pc:spChg chg="mod">
          <ac:chgData name="April Durrence" userId="2314a7d0-99d3-4144-8a7f-648170c8b7b7" providerId="ADAL" clId="{EAE80DB9-CB43-4440-9E5C-0B0573E509B3}" dt="2026-06-08T19:15:32.529" v="2354" actId="255"/>
          <ac:spMkLst>
            <pc:docMk/>
            <pc:sldMk cId="2834166626" sldId="2145704812"/>
            <ac:spMk id="11" creationId="{555AD298-6ED4-0037-0C99-942D514C7BD6}"/>
          </ac:spMkLst>
        </pc:spChg>
        <pc:picChg chg="mod">
          <ac:chgData name="April Durrence" userId="2314a7d0-99d3-4144-8a7f-648170c8b7b7" providerId="ADAL" clId="{EAE80DB9-CB43-4440-9E5C-0B0573E509B3}" dt="2026-06-05T17:38:48.806" v="194" actId="962"/>
          <ac:picMkLst>
            <pc:docMk/>
            <pc:sldMk cId="2834166626" sldId="2145704812"/>
            <ac:picMk id="3" creationId="{E670012C-49B9-B370-EED9-443DD8C3290C}"/>
          </ac:picMkLst>
        </pc:picChg>
      </pc:sldChg>
      <pc:sldChg chg="modSp new mod">
        <pc:chgData name="April Durrence" userId="2314a7d0-99d3-4144-8a7f-648170c8b7b7" providerId="ADAL" clId="{EAE80DB9-CB43-4440-9E5C-0B0573E509B3}" dt="2026-06-05T17:32:13.774" v="160" actId="113"/>
        <pc:sldMkLst>
          <pc:docMk/>
          <pc:sldMk cId="441113757" sldId="2145704814"/>
        </pc:sldMkLst>
        <pc:spChg chg="mod">
          <ac:chgData name="April Durrence" userId="2314a7d0-99d3-4144-8a7f-648170c8b7b7" providerId="ADAL" clId="{EAE80DB9-CB43-4440-9E5C-0B0573E509B3}" dt="2026-06-05T17:17:53.149" v="60"/>
          <ac:spMkLst>
            <pc:docMk/>
            <pc:sldMk cId="441113757" sldId="2145704814"/>
            <ac:spMk id="2" creationId="{276C1ED2-0740-E4FB-BD9B-238336698D0E}"/>
          </ac:spMkLst>
        </pc:spChg>
        <pc:spChg chg="mod">
          <ac:chgData name="April Durrence" userId="2314a7d0-99d3-4144-8a7f-648170c8b7b7" providerId="ADAL" clId="{EAE80DB9-CB43-4440-9E5C-0B0573E509B3}" dt="2026-06-05T17:32:13.774" v="160" actId="113"/>
          <ac:spMkLst>
            <pc:docMk/>
            <pc:sldMk cId="441113757" sldId="2145704814"/>
            <ac:spMk id="3" creationId="{0BC527AC-CB1B-7B1D-7306-3EA9A8101C8C}"/>
          </ac:spMkLst>
        </pc:spChg>
        <pc:spChg chg="mod">
          <ac:chgData name="April Durrence" userId="2314a7d0-99d3-4144-8a7f-648170c8b7b7" providerId="ADAL" clId="{EAE80DB9-CB43-4440-9E5C-0B0573E509B3}" dt="2026-06-05T17:20:33.405" v="91" actId="962"/>
          <ac:spMkLst>
            <pc:docMk/>
            <pc:sldMk cId="441113757" sldId="2145704814"/>
            <ac:spMk id="4" creationId="{43E83D78-455B-5DCF-4CF9-9873E88D84B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ncosc.sharepoint.com/sites/FBR/Shared%20Documents/Org%20Change%20Management/Sustainment/Agency%20Engagement/Agency%20Visits/2026/Agencies/4.%20Surveys%20&amp;%20Feedback%20Results/NCFS%20Agency%20Touchpoint%20Spring%202026_Forms%20Respons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ncosc.sharepoint.com/sites/FBR/Shared%20Documents/Org%20Change%20Management/Sustainment/Agency%20Engagement/Agency%20Visits/2026/Indirect%20Agencies/4.%20Surveys%20&amp;%20Feedback%20Results/NC%20Financial%20System%20%20Touchpoint%20-%20Interface%20Group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NCFS Agency Touchpoint Spring 2026_Forms Responses.xlsx]Sheet1!PivotTable1</c:name>
    <c:fmtId val="13"/>
  </c:pivotSource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4:$A$16</c:f>
              <c:strCache>
                <c:ptCount val="12"/>
                <c:pt idx="0">
                  <c:v>AP</c:v>
                </c:pt>
                <c:pt idx="1">
                  <c:v>AR</c:v>
                </c:pt>
                <c:pt idx="2">
                  <c:v>Cash Management/IC</c:v>
                </c:pt>
                <c:pt idx="3">
                  <c:v>Data Maintenance</c:v>
                </c:pt>
                <c:pt idx="4">
                  <c:v>Fixed Assets</c:v>
                </c:pt>
                <c:pt idx="5">
                  <c:v>GL</c:v>
                </c:pt>
                <c:pt idx="6">
                  <c:v>No Issues</c:v>
                </c:pt>
                <c:pt idx="7">
                  <c:v>Procurement</c:v>
                </c:pt>
                <c:pt idx="8">
                  <c:v>Reporting</c:v>
                </c:pt>
                <c:pt idx="9">
                  <c:v>Security</c:v>
                </c:pt>
                <c:pt idx="10">
                  <c:v>System</c:v>
                </c:pt>
                <c:pt idx="11">
                  <c:v>Training</c:v>
                </c:pt>
              </c:strCache>
            </c:strRef>
          </c:cat>
          <c:val>
            <c:numRef>
              <c:f>Sheet1!$B$4:$B$16</c:f>
              <c:numCache>
                <c:formatCode>General</c:formatCode>
                <c:ptCount val="12"/>
                <c:pt idx="0">
                  <c:v>8</c:v>
                </c:pt>
                <c:pt idx="1">
                  <c:v>8</c:v>
                </c:pt>
                <c:pt idx="2">
                  <c:v>6</c:v>
                </c:pt>
                <c:pt idx="3">
                  <c:v>2</c:v>
                </c:pt>
                <c:pt idx="4">
                  <c:v>6</c:v>
                </c:pt>
                <c:pt idx="5">
                  <c:v>10</c:v>
                </c:pt>
                <c:pt idx="6">
                  <c:v>10</c:v>
                </c:pt>
                <c:pt idx="7">
                  <c:v>3</c:v>
                </c:pt>
                <c:pt idx="8">
                  <c:v>17</c:v>
                </c:pt>
                <c:pt idx="9">
                  <c:v>1</c:v>
                </c:pt>
                <c:pt idx="10">
                  <c:v>13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27-4D7F-BABF-C6EF42D448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07043248"/>
        <c:axId val="1255069792"/>
      </c:barChart>
      <c:catAx>
        <c:axId val="1207043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69792"/>
        <c:crosses val="autoZero"/>
        <c:auto val="1"/>
        <c:lblAlgn val="ctr"/>
        <c:lblOffset val="100"/>
        <c:noMultiLvlLbl val="0"/>
      </c:catAx>
      <c:valAx>
        <c:axId val="1255069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704324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aseline="0"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NC Financial System  Touchpoint - Interface Groups Spring 2026.xlsx]Sheet2!PivotTable3</c:name>
    <c:fmtId val="-1"/>
  </c:pivotSource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2!$A$4:$A$10</c:f>
              <c:strCache>
                <c:ptCount val="6"/>
                <c:pt idx="0">
                  <c:v>Cash Management/IC</c:v>
                </c:pt>
                <c:pt idx="1">
                  <c:v>Communications </c:v>
                </c:pt>
                <c:pt idx="2">
                  <c:v>GL</c:v>
                </c:pt>
                <c:pt idx="3">
                  <c:v>No Issues</c:v>
                </c:pt>
                <c:pt idx="4">
                  <c:v>Reporting</c:v>
                </c:pt>
                <c:pt idx="5">
                  <c:v>System</c:v>
                </c:pt>
              </c:strCache>
            </c:strRef>
          </c:cat>
          <c:val>
            <c:numRef>
              <c:f>Sheet2!$B$4:$B$10</c:f>
              <c:numCache>
                <c:formatCode>General</c:formatCode>
                <c:ptCount val="6"/>
                <c:pt idx="0">
                  <c:v>6</c:v>
                </c:pt>
                <c:pt idx="1">
                  <c:v>1</c:v>
                </c:pt>
                <c:pt idx="2">
                  <c:v>3</c:v>
                </c:pt>
                <c:pt idx="3">
                  <c:v>11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C6-4E5E-975A-8F2A688CF8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19855119"/>
        <c:axId val="1519856559"/>
      </c:barChart>
      <c:catAx>
        <c:axId val="15198551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9856559"/>
        <c:crosses val="autoZero"/>
        <c:auto val="1"/>
        <c:lblAlgn val="ctr"/>
        <c:lblOffset val="100"/>
        <c:noMultiLvlLbl val="0"/>
      </c:catAx>
      <c:valAx>
        <c:axId val="15198565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9855119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314C32C-AE17-3E7A-0C83-019943BC53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B87B80-0726-14A5-4A7F-C79D96FB84C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0E931-2B4A-4E7E-AE2D-C45D1133394D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C61309-7EAC-2133-BF55-9BBC9E1A2CA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1F9550-1488-4B78-9548-ED9C1E26B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832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9B083-B27B-4FA1-9D02-8E7D72C200D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8B917A-44FF-4375-AE13-26284F8E84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46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909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C620F9-F627-0594-7045-713715F73F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2BF0C5-8AD0-1942-037B-26BC2402F4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0FBEA5-877E-070E-272B-C75EF3B2AE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B252D7-3151-A818-3342-4F5305873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9043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EB0D7A-0976-4332-5EE1-085210AD1A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F0EE4C-E0B2-692B-1FDA-32E594280C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B46246-2E56-C927-A555-E1567EDC56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B12B6A-D22B-78F2-7ED5-09EF664C1A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51387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41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DE2AD4-ED72-E066-2811-697DF1E07E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A670AC-4520-CEF1-DFE6-7CD480A3AB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8EF48B-5072-A67F-6E99-03AD5DAA8F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7AB7F1-FCD8-AD76-ECCD-113D037D21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11FA9-2C59-4D18-8170-80DF3BAB480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2471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549741-AEF6-9BA4-581D-2BBB7F059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ECE098-4146-AE61-29B3-FE43C7C709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F6EC81-30F9-680B-C63C-D035853A4F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96BAD6-7DE0-387A-3DE3-71C50A087C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11FA9-2C59-4D18-8170-80DF3BAB480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815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C10809-3D11-4697-BBB8-684945447B6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6817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110929-0F00-CC43-BCEC-E843565E5A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427D8C-74A3-5B9A-CC01-01846758B5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633D4B-351C-A811-D0B1-0B7492A565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5506DE-1943-C59C-B260-0422394C7B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2130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7D0117-4874-7FA4-49AF-1DC36CC85E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2D4B95-0B27-7C3B-8DE5-2D61A0A2D0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3D7339-92DD-6B30-0296-4B82C29D5A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0FE4EA-4314-4F30-3419-FC69513FD6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0722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B2E797-8F1E-62F2-30EE-A93486ECFF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79C6A4-0AA4-1FB4-EC8C-2FD7D768D2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17F9BE-3FC9-D23C-38D1-83D9CA676C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E00EE7-D4A7-210A-D17F-821C9573F8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9978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0192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057152-F0FE-7A09-F1EE-EB61555A41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50572D-802F-3CDE-B190-2661FC871F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5A2DD5-2F58-CD6D-48DF-1BD90634B9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2AA9F3-B825-5832-1579-3B05DD05F2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66179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76B0E-B143-0434-5E56-3CBCF822B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FE552C-8570-5FD5-1AF7-27B94BC6F7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1A9F1C-DDAE-0D96-9C34-AD66D6790C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FE907E-7EBD-5E2D-3A1F-5CE4199628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923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ED91FE-6D38-6401-A9C4-8ED3A8AE42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F54BBF-64C9-D426-4C7C-8E544ED6D0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2FD9ED-943F-EA04-DFC4-4CC8196787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658F35-FEE1-9855-09E0-2D68B15B7E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506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5539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8E49D7-2FA8-95A2-FC98-3ED3D66DA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B876E0-DA56-80A4-A8D3-49732B59F0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7E8D8B-3D8D-7AA8-AFFB-27316265CA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9C540E-5C68-51EE-4C28-EFCB495961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68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F2A081-8209-0CB3-779A-F020CF950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08C697-7382-BD7B-4711-2B80D36AEF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329107-42CC-7A68-4975-F4AEED6C6B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238CD-049D-4DB3-4256-EDB78735C7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8831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781725-2690-0BA1-BEF8-2CEE68480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B20ED8-EEF3-71FD-8BC5-56D1C7210E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2D4E27-B433-8B49-F420-3788E2ECF1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24FDB2-A882-7781-AACC-07C900F369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0478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5055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34CA5-6EC7-B533-48EA-894CA9F06D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61D6E7-DC5C-2E47-3580-CECB363395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4BA7DB-1BC3-7460-DA6B-18EED36775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B4A802-9F57-717E-115C-42F3D4DD4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77988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7F6EDA-CC47-C153-431E-D7F1B0DF9D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419133-A165-BEC3-3CC9-401337CE17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3836F1-B4A7-3975-8515-019DB4D340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57BE94-E066-2DB4-65DC-9D07B6C37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53918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7A5CB-0212-4F66-A5A9-2AFE9A794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EE720BD-DC3C-4A5D-AE23-9EFCCFA719F4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A2B9FF8-EABB-4A92-BAE7-83065A100422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FFF9E74-9D88-43BD-B4F7-757454DC62D3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19938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7A5CB-0212-4F66-A5A9-2AFE9A794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2543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3CD8DC-F01F-43A9-A88F-D7FAD5C34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17F2B6-5153-4E5E-8CA0-F42DDE6B6E89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68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17F2B6-5153-4E5E-8CA0-F42DDE6B6E89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519D3147-4909-4A58-8757-4F4E165D7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189970" y="140208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870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221FF-10B0-4502-ABD4-913EB4D18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D47A85-F48C-4A0A-BA98-136216371F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A665F0-0612-410B-B617-CB88D31B9E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7041AF-48B4-4901-A982-45680E0D3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4C0490-1BD2-4169-9723-BD2B1CFDD3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4486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E5FD3-66FF-4C90-91EF-CEF4C7E0F8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AB0571-8B06-45C1-9F97-FE312E6167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997B24-CF8A-4EB7-A959-E4946AF7AF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D1301C-B098-4501-9844-704DDF9E9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040428-0428-4692-BA8B-2E43053BF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658E96-B9A9-4607-BB6D-0C1E14C09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8633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367B8-A203-4AEF-B355-5663C4FEA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1355EE-9C5D-4079-B0A6-CE369876DA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92BAD5-43F0-4DAE-88EB-E35951E4A8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1CA66E-4438-4A66-9622-E05DC340EF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30173E-F8D3-489E-8A7D-72470E3EEC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DB9B2B-0AA3-40F9-822D-1703E128F0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2544601-787D-4800-B436-913A824B2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952744-FE8E-43A6-B592-DCB0481F3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771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7BB45-7D27-4925-9F46-EC6575948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014124-F527-4C53-8BE1-99357BB7F1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73DBC-A030-49C2-87F0-7F8D02A3C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310C4F-8343-48AF-B76F-A6D8A1209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6596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B51D22-CE2F-41E0-BD89-DEF11E148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F50C6D-0448-4F76-BE9D-89DFB6396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A153C9-CF10-4A3E-9076-CAE32CF29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6260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F849E-F474-4507-82F5-732AB7F78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9CD832-D32E-40DD-83FA-347FA19B1C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784064-BBBD-4F5A-9CEB-A19D57B185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F487AC-DD38-44AD-B4AC-BDBC40C64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AE3F1-7D6E-4D11-808A-ADAF32F8C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451C00-3E77-4ED9-90AB-556D5AC7F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2549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90E84-635B-4E81-B60F-75C33DBDC9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91AACE-3E4D-462D-A8D1-938C61CC24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1F36E5-5CB1-4542-BD50-7B66AAE69A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559401-71C4-4B03-B21A-2B1CD1A82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281259-7341-4EB2-878B-88A76D4221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A20175-E191-4CAA-AAFF-49643FA6C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5803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E2ADD-0A36-47E1-A25B-B1A0F3880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A879B7-C408-474F-BCC0-1320AC99B3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514C40-9F37-4EC6-B846-4DEE32D19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4BBDDE-3E7B-40F3-AE77-5AA9A12D9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120BC0-B866-47BB-9CFF-31F328D700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6381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A48A47F-82DF-4227-9727-42B647926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A8FAD6-57E3-4F03-99CA-6CF2638EFA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AB334-BCAE-4268-B689-9F7191A5B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46AE58-9111-4005-9E75-D172665D9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5989D-D369-4AC8-BB05-BFCA1CB4C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6469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9920377" y="5803392"/>
            <a:ext cx="2161865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18997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489800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81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189971" y="5803392"/>
            <a:ext cx="1892271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10237641" y="5803391"/>
            <a:ext cx="1844602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3721" y="6328168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2829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0E8A1B-9494-4948-B4D7-33394FA2EA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683" b="23372"/>
          <a:stretch/>
        </p:blipFill>
        <p:spPr>
          <a:xfrm>
            <a:off x="774408" y="276877"/>
            <a:ext cx="1445888" cy="61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266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3229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901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0923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3820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9869865" y="5803392"/>
            <a:ext cx="2212378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4489773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9344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3301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70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135027"/>
            <a:ext cx="11582400" cy="64633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20"/>
            <a:ext cx="11582400" cy="276999"/>
          </a:xfrm>
        </p:spPr>
        <p:txBody>
          <a:bodyPr/>
          <a:lstStyle>
            <a:lvl1pPr marL="0" indent="0">
              <a:buNone/>
              <a:defRPr sz="1999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3"/>
            <a:ext cx="11582400" cy="119936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32737708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41817" y="134382"/>
            <a:ext cx="8608483" cy="493712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4636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2" y="1570042"/>
            <a:ext cx="10227731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1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673601" y="6509043"/>
            <a:ext cx="28448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59480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9630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10189971" y="5803392"/>
            <a:ext cx="1892272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99728" y="6126480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F47859-2A74-44B9-87FD-72E9CF58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F87D4B-3020-4672-BA3B-7AE139272F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EBAC00-4775-4013-AE9C-CB3A8B378B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A0B608-F8E5-410E-B5E6-0B9847FC23F0}" type="datetimeFigureOut">
              <a:rPr lang="en-US" smtClean="0"/>
              <a:t>6/1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E8EC1-461C-4A7A-BCA3-A22DF0635A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8FB227-9C71-4506-9F75-9B2BED8B7C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069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5" r:id="rId2"/>
    <p:sldLayoutId id="2147483686" r:id="rId3"/>
    <p:sldLayoutId id="2147483687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841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6.xml"/><Relationship Id="rId5" Type="http://schemas.openxmlformats.org/officeDocument/2006/relationships/image" Target="../media/image12.png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7.xml"/><Relationship Id="rId6" Type="http://schemas.openxmlformats.org/officeDocument/2006/relationships/image" Target="../media/image14.png"/><Relationship Id="rId5" Type="http://schemas.openxmlformats.org/officeDocument/2006/relationships/hyperlink" Target="https://www.ncosc.gov/state-agency-resources/ncfs-resources/excel-add-on" TargetMode="Externa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8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6" Type="http://schemas.openxmlformats.org/officeDocument/2006/relationships/hyperlink" Target="https://www.ncosc.gov/training/ncfs-security-roles/ncfs-security-administrators" TargetMode="External"/><Relationship Id="rId5" Type="http://schemas.openxmlformats.org/officeDocument/2006/relationships/hyperlink" Target="https://www.ncosc.gov/training/ncfs-system-training/ncfs-security-roles" TargetMode="External"/><Relationship Id="rId4" Type="http://schemas.openxmlformats.org/officeDocument/2006/relationships/hyperlink" Target="https://www.ncosc.gov/contact-us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0.xml"/><Relationship Id="rId5" Type="http://schemas.openxmlformats.org/officeDocument/2006/relationships/image" Target="../media/image12.png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.xml"/><Relationship Id="rId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2.xml"/><Relationship Id="rId4" Type="http://schemas.openxmlformats.org/officeDocument/2006/relationships/chart" Target="../charts/char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23.xml"/><Relationship Id="rId5" Type="http://schemas.openxmlformats.org/officeDocument/2006/relationships/image" Target="../media/image17.png"/><Relationship Id="rId4" Type="http://schemas.openxmlformats.org/officeDocument/2006/relationships/hyperlink" Target="https://www.ncosc.gov/state-agency-resources/ncfs-resources/2026-communications-archive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4" Type="http://schemas.openxmlformats.org/officeDocument/2006/relationships/image" Target="../media/image1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hyperlink" Target="https://teams.microsoft.com/l/meetup-join/19%3ameeting_ZjdhN2Y4ZDEtYjUyZC00YjE1LWFkZjAtYWRiNGNkZjcxMTRh%40thread.v2/0?context=%7b%22Tid%22%3a%22a1f43f48-54fe-433f-9378-968b45bc6665%22%2c%22Oid%22%3a%22a97f2b47-fee0-4f84-a663-b1d45b4d0254%22%7d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hyperlink" Target="https://teams.microsoft.com/meet/251667214872438?p=OdeWs4iG8Zu6zrTlYW" TargetMode="External"/><Relationship Id="rId5" Type="http://schemas.openxmlformats.org/officeDocument/2006/relationships/hyperlink" Target="https://teams.microsoft.com/meet/298772899081471?p=GyWkiJEfsroqgHa3PY" TargetMode="External"/><Relationship Id="rId4" Type="http://schemas.openxmlformats.org/officeDocument/2006/relationships/hyperlink" Target="https://teams.microsoft.com/meet/25419869886493?p=Fau3FdOjo4fk6yCRXR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osc.gov/state-agency-resources/ncfs-resources/ncfs-pre-built-reports" TargetMode="External"/><Relationship Id="rId13" Type="http://schemas.openxmlformats.org/officeDocument/2006/relationships/hyperlink" Target="https://ncosc.sharepoint.com/sites/CAFR/GASB%2096/Forms/AllItems.aspx?id=%2Fsites%2FCAFR%2FGASB%2096%2FDue%20to%20Due%20From%20%26%20Transfer%20reconcilation%2FACFR%202026%20Resources%2FNCFS%20Statewide%20Transfer%20Reconciliation%2FStatewide%20Reports&amp;viewid=1ae9e284%2D84f5%2D4eac%2D9729%2D1ba15c2b8ee6&amp;csf=1&amp;cid=002390c4%2D4ec1%2D4987%2Da760%2D7fdbbeb8f8eb&amp;FolderCTID=0x0120006DBD015A035B034D8FB8849384DC8C46" TargetMode="External"/><Relationship Id="rId18" Type="http://schemas.openxmlformats.org/officeDocument/2006/relationships/hyperlink" Target="https://www.ncosc.gov/training/ncfs-security-roles/ncfs-security-administrators" TargetMode="External"/><Relationship Id="rId3" Type="http://schemas.openxmlformats.org/officeDocument/2006/relationships/notesSlide" Target="../notesSlides/notesSlide20.xml"/><Relationship Id="rId7" Type="http://schemas.openxmlformats.org/officeDocument/2006/relationships/hyperlink" Target="https://www.ncosc.gov/state-agency-resources/ncfs-resources/2026-communications-archives" TargetMode="External"/><Relationship Id="rId12" Type="http://schemas.openxmlformats.org/officeDocument/2006/relationships/hyperlink" Target="https://www.ncosc.gov/training/ncfs-system-training/ncfs-help-documents/ex-09-create-and-manage-employee-information" TargetMode="External"/><Relationship Id="rId17" Type="http://schemas.openxmlformats.org/officeDocument/2006/relationships/hyperlink" Target="https://www.ncosc.gov/training/ncfs-system-training/NCFS-help-documents" TargetMode="External"/><Relationship Id="rId2" Type="http://schemas.openxmlformats.org/officeDocument/2006/relationships/slideLayout" Target="../slideLayouts/slideLayout9.xml"/><Relationship Id="rId16" Type="http://schemas.openxmlformats.org/officeDocument/2006/relationships/hyperlink" Target="https://www.ncosc.gov/training/ncfs-system-training/ncfs-help-documents/gen-11-ncfs-reference-links" TargetMode="External"/><Relationship Id="rId20" Type="http://schemas.openxmlformats.org/officeDocument/2006/relationships/hyperlink" Target="https://www.ncosc.gov/training/ncfs-system-training" TargetMode="External"/><Relationship Id="rId1" Type="http://schemas.openxmlformats.org/officeDocument/2006/relationships/tags" Target="../tags/tag27.xml"/><Relationship Id="rId6" Type="http://schemas.openxmlformats.org/officeDocument/2006/relationships/hyperlink" Target="https://www.ncosc.gov/state-agency-resources/ncfs-resources/ncfs-change-request-intake-form" TargetMode="External"/><Relationship Id="rId11" Type="http://schemas.openxmlformats.org/officeDocument/2006/relationships/hyperlink" Target="https://ncconnect.sharepoint.com/sites/CAFR" TargetMode="External"/><Relationship Id="rId5" Type="http://schemas.openxmlformats.org/officeDocument/2006/relationships/hyperlink" Target="https://www.ncosc.gov/state-agency-resources/ncfs-resources/agency-year-end-activity-checklist-and-instructions/fy2026-year-end-reminders-purchase-orders-and-invoices" TargetMode="External"/><Relationship Id="rId15" Type="http://schemas.openxmlformats.org/officeDocument/2006/relationships/hyperlink" Target="https://www.ncosc.gov/state-agency-resources/ncfs-resources/ncfs-system-information" TargetMode="External"/><Relationship Id="rId10" Type="http://schemas.openxmlformats.org/officeDocument/2006/relationships/hyperlink" Target="https://www.ncosc.gov/state-agency-resources/ncfs-resources/agency-year-end-activity-checklist-and-instructions" TargetMode="External"/><Relationship Id="rId19" Type="http://schemas.openxmlformats.org/officeDocument/2006/relationships/hyperlink" Target="https://www.ncosc.gov/training/ncfs-system-training/ncfs-security-roles" TargetMode="External"/><Relationship Id="rId4" Type="http://schemas.openxmlformats.org/officeDocument/2006/relationships/hyperlink" Target="https://www.ncosc.gov/state-agency-resources/ncfs-resources/excel-add-on" TargetMode="External"/><Relationship Id="rId9" Type="http://schemas.openxmlformats.org/officeDocument/2006/relationships/hyperlink" Target="https://emzn.fa.us8.oraclecloud.com/fscmUI/faces/FuseWelcome" TargetMode="External"/><Relationship Id="rId14" Type="http://schemas.openxmlformats.org/officeDocument/2006/relationships/hyperlink" Target="https://www.ncosc.gov/sites/default/files/2025-09/NCFS_IC_Contacts%20090325.xlsx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hyperlink" Target="https://www.ncosc.gov/state-agency-resources/ncfs-resources/2026-communications-archives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6" Type="http://schemas.openxmlformats.org/officeDocument/2006/relationships/hyperlink" Target="mailto:ncfs@ncosc.gov" TargetMode="External"/><Relationship Id="rId5" Type="http://schemas.openxmlformats.org/officeDocument/2006/relationships/hyperlink" Target="https://forms.office.com/g/sdmj3R5FTM" TargetMode="External"/><Relationship Id="rId4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Relationship Id="rId9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8.xml"/><Relationship Id="rId5" Type="http://schemas.openxmlformats.org/officeDocument/2006/relationships/image" Target="../media/image12.png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hyperlink" Target="https://www.ncosc.gov/state-agency-resources/ncfs-resources/agency-year-end-activity-checklist-and-instruction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B2FD2-8A71-619C-1F63-8D71EE560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CD0E3-9D58-6E54-3EAC-D3669186EA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6000"/>
              <a:t>NCFS </a:t>
            </a:r>
            <a:r>
              <a:rPr lang="en-US" sz="6000">
                <a:ea typeface="Calibri"/>
                <a:cs typeface="Calibri"/>
              </a:rPr>
              <a:t>Insight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19813C-A772-4C9D-6D8B-C686A4A4F7B4}"/>
              </a:ext>
            </a:extLst>
          </p:cNvPr>
          <p:cNvSpPr txBox="1">
            <a:spLocks/>
          </p:cNvSpPr>
          <p:nvPr/>
        </p:nvSpPr>
        <p:spPr>
          <a:xfrm>
            <a:off x="1524000" y="3167743"/>
            <a:ext cx="9692640" cy="127710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rgbClr val="232B7C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June 3, 2026</a:t>
            </a:r>
            <a:endParaRPr lang="en-US">
              <a:ea typeface="Calibri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69490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927C3-C81B-28F4-39B4-9BAE55251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BD7CEA-B735-86C6-831A-3F40837BE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SR Project – What’s New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4D7ECD7-9613-1400-32F2-0D3799CC58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50740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600" b="1" dirty="0"/>
              <a:t>New Project Name! 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600" dirty="0"/>
              <a:t>The Budget System Replacement Project is now the </a:t>
            </a:r>
            <a:r>
              <a:rPr lang="en-US" sz="2600" b="1" dirty="0">
                <a:solidFill>
                  <a:srgbClr val="0070C0"/>
                </a:solidFill>
              </a:rPr>
              <a:t>BRIDGE</a:t>
            </a:r>
            <a:r>
              <a:rPr lang="en-US" sz="2600" dirty="0"/>
              <a:t>! 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600" dirty="0"/>
              <a:t>	</a:t>
            </a:r>
            <a:r>
              <a:rPr lang="en-US" sz="2600" b="1" dirty="0">
                <a:solidFill>
                  <a:srgbClr val="0070C0"/>
                </a:solidFill>
              </a:rPr>
              <a:t>B</a:t>
            </a:r>
            <a:r>
              <a:rPr lang="en-US" sz="2600" dirty="0"/>
              <a:t>udget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600" dirty="0"/>
              <a:t>	</a:t>
            </a:r>
            <a:r>
              <a:rPr lang="en-US" sz="2600" b="1" dirty="0">
                <a:solidFill>
                  <a:srgbClr val="0070C0"/>
                </a:solidFill>
              </a:rPr>
              <a:t>R</a:t>
            </a:r>
            <a:r>
              <a:rPr lang="en-US" sz="2600" dirty="0"/>
              <a:t>eporting and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600" dirty="0"/>
              <a:t>	</a:t>
            </a:r>
            <a:r>
              <a:rPr lang="en-US" sz="2600" b="1" dirty="0">
                <a:solidFill>
                  <a:srgbClr val="0070C0"/>
                </a:solidFill>
              </a:rPr>
              <a:t>I</a:t>
            </a:r>
            <a:r>
              <a:rPr lang="en-US" sz="2600" dirty="0"/>
              <a:t>ntegrated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600" dirty="0"/>
              <a:t>	</a:t>
            </a:r>
            <a:r>
              <a:rPr lang="en-US" sz="2600" b="1" dirty="0">
                <a:solidFill>
                  <a:srgbClr val="0070C0"/>
                </a:solidFill>
              </a:rPr>
              <a:t>D</a:t>
            </a:r>
            <a:r>
              <a:rPr lang="en-US" sz="2600" dirty="0"/>
              <a:t>evelopment,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600" dirty="0"/>
              <a:t>	</a:t>
            </a:r>
            <a:r>
              <a:rPr lang="en-US" sz="2600" b="1" dirty="0">
                <a:solidFill>
                  <a:srgbClr val="0070C0"/>
                </a:solidFill>
              </a:rPr>
              <a:t>G</a:t>
            </a:r>
            <a:r>
              <a:rPr lang="en-US" sz="2600" dirty="0"/>
              <a:t>overnance, and 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600" dirty="0"/>
              <a:t>	</a:t>
            </a:r>
            <a:r>
              <a:rPr lang="en-US" sz="2600" b="1" dirty="0">
                <a:solidFill>
                  <a:srgbClr val="0070C0"/>
                </a:solidFill>
              </a:rPr>
              <a:t>E</a:t>
            </a:r>
            <a:r>
              <a:rPr lang="en-US" sz="2600" dirty="0"/>
              <a:t>xecution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600" dirty="0"/>
              <a:t>Thanks to all who submitted ideas to OSBM! 133 submissions from 28 agencies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2B5EA6-657F-7974-4C6E-563A720C5A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50549" y="5968313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293BBC-60E1-FD76-093C-9FFE2E2BE1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0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97011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BCD51-80A6-492C-0C7A-ABE79B435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DGE Project Phase 1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930D0-ADE4-F8B7-CE60-376E701BE8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dirty="0"/>
              <a:t>Phase 1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Development of base budget operations for execution of biennial base budget this fall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Project management planning &amp; general design phases complete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System build work in Oracle EPM is in progress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Phase 1 sprints scheduled to conclude in June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User Acceptance Testing to be completed in June &amp; July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Phase 1 Target Date: September 1, 202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EC3D2E1-6089-53D5-8ADF-EB31A01E4F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650A12-8E91-63A4-408D-EE9DE4EBC7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1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0738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E6936-7263-7D9A-A0D5-1AD33EE7BC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8BEC4E-0C12-D3D1-3EFD-1560F56DB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DGE Project Future Phas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48B432D-B62C-2B4F-189E-B323A8071C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dirty="0"/>
              <a:t>Phase 2 (Budget Execution Functionality) &amp; Phase 3 (Support Governor’s Recommended Budget process)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Planning &amp; general design are progressing concurrently with Phase 1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Planning expected to conclude in June, followed by 6 sprints (~6 months) to work through build out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Phase 2 Target Date: July 1, 2027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dirty="0"/>
              <a:t>Phase 3 Target Date: December 1, 2027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0BBAF8C-2773-9F1C-D55D-9503A90702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1A7C3B-0DF3-925D-7877-7BBAD81CEE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89910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90D97D-BADE-E088-0546-4AE6770779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4EAE5-5B2E-618F-B0C5-453232D1A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DGE Project Training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55AD298-6ED4-0037-0C99-942D514C7B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OSBM preparing for Statewide BRIDGE training.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Trainers being hired.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Training schedules &amp; logistics will be shared as they become availabl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670012C-49B9-B370-EED9-443DD8C329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B17CCE-B2A1-DFC2-0B63-84BC9F9012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41666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D7CB90-FAD7-D4A3-13CB-450552B6E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A59A77-2738-4C3E-A234-59B71597E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5013" y="35667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Technical Updat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F340F4-905B-4258-077F-834BFBAC1E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6351" y="1849554"/>
            <a:ext cx="2041784" cy="22527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EABFF99-24B6-F09B-CFE2-6BC2A67E9F65}"/>
              </a:ext>
            </a:extLst>
          </p:cNvPr>
          <p:cNvSpPr txBox="1"/>
          <p:nvPr/>
        </p:nvSpPr>
        <p:spPr>
          <a:xfrm>
            <a:off x="3066625" y="4251416"/>
            <a:ext cx="537212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Ram </a:t>
            </a:r>
            <a:r>
              <a:rPr lang="en-US" b="1" dirty="0" err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Kuntamukkala</a:t>
            </a:r>
            <a:endParaRPr lang="en-US" b="1" dirty="0">
              <a:solidFill>
                <a:srgbClr val="0070C0">
                  <a:lumMod val="50000"/>
                </a:srgbClr>
              </a:solidFill>
              <a:latin typeface="Calibri" panose="020F0502020204030204"/>
              <a:cs typeface="Calibri"/>
            </a:endParaRPr>
          </a:p>
          <a:p>
            <a:pPr algn="ctr">
              <a:defRPr/>
            </a:pPr>
            <a:r>
              <a:rPr lang="en-US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Applications Systems Manager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A25880F-2BC3-AF69-E801-F8E673108A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7E98575-8F90-1B4C-DEAE-7910771C51CB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31EFC8-72A2-8FA1-8BE4-CE4351423D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16F363-8296-0686-2A19-5CF96802F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35023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759269-CB47-795D-CA38-F455944A6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08BECE-37AA-0ADC-C20F-53865CE0B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6F95904-B90D-883C-09C0-4F25098B6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675" y="397812"/>
            <a:ext cx="10969101" cy="634219"/>
          </a:xfrm>
        </p:spPr>
        <p:txBody>
          <a:bodyPr/>
          <a:lstStyle/>
          <a:p>
            <a:r>
              <a:rPr lang="en-US">
                <a:solidFill>
                  <a:schemeClr val="accent5">
                    <a:lumMod val="50000"/>
                  </a:schemeClr>
                </a:solidFill>
                <a:cs typeface="Calibri"/>
              </a:rPr>
              <a:t>ADFDI Update ( MS-Excel Plugin)</a:t>
            </a:r>
            <a:endParaRPr lang="en-US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7DBBFD-F667-479D-ED44-22AAF80EC3B3}"/>
              </a:ext>
            </a:extLst>
          </p:cNvPr>
          <p:cNvSpPr txBox="1"/>
          <p:nvPr/>
        </p:nvSpPr>
        <p:spPr>
          <a:xfrm>
            <a:off x="936134" y="1297052"/>
            <a:ext cx="6017326" cy="35086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A new version of the ADFDI add-in </a:t>
            </a:r>
            <a:r>
              <a:rPr lang="en-US" sz="2400" b="1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roll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out </a:t>
            </a:r>
            <a:r>
              <a:rPr lang="en-US" sz="2400" b="1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by Oracle as part of 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26B </a:t>
            </a:r>
            <a:r>
              <a:rPr lang="en-US" sz="2400" b="1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release.</a:t>
            </a:r>
            <a:endParaRPr lang="en-US" sz="2400" dirty="0">
              <a:solidFill>
                <a:prstClr val="black"/>
              </a:solidFill>
              <a:ea typeface="+mn-lt"/>
              <a:cs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ea typeface="+mn-lt"/>
                <a:cs typeface="+mn-lt"/>
                <a:hlinkClick r:id="rId5"/>
              </a:rPr>
              <a:t>Excel Add-on and instructions</a:t>
            </a:r>
            <a:r>
              <a:rPr lang="en-US" sz="2400" dirty="0">
                <a:solidFill>
                  <a:prstClr val="black"/>
                </a:solidFill>
                <a:ea typeface="+mn-lt"/>
                <a:cs typeface="+mn-lt"/>
              </a:rPr>
              <a:t> on how to install are available on NCOSC Website. </a:t>
            </a:r>
            <a:endParaRPr lang="en-US" sz="2400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Once installed you should see the latest version on your desktop excel application. 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Agencies may need to contact local IT </a:t>
            </a:r>
            <a:r>
              <a:rPr lang="en-US" sz="2400" dirty="0">
                <a:solidFill>
                  <a:prstClr val="black"/>
                </a:solidFill>
                <a:latin typeface="Calibri"/>
                <a:ea typeface="Calibri"/>
                <a:cs typeface="Calibri"/>
              </a:rPr>
              <a:t>team for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</a:t>
            </a:r>
            <a:r>
              <a:rPr lang="en-US" sz="2400" dirty="0">
                <a:solidFill>
                  <a:prstClr val="black"/>
                </a:solidFill>
                <a:latin typeface="Calibri"/>
                <a:ea typeface="Calibri"/>
                <a:cs typeface="Calibri"/>
              </a:rPr>
              <a:t>installation assistance.</a:t>
            </a:r>
            <a:endParaRPr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6" name="Picture 5" descr="Oracle ADF Desktop Integration 5.2.5.29987 text and logo.">
            <a:extLst>
              <a:ext uri="{FF2B5EF4-FFF2-40B4-BE49-F238E27FC236}">
                <a16:creationId xmlns:a16="http://schemas.microsoft.com/office/drawing/2014/main" id="{8F3DCB52-4272-9317-69F3-2E1100C280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31553" y="3595974"/>
            <a:ext cx="4162425" cy="952500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" name="Picture 9" descr="Excel Add-On webpage with a red outline around text: Updated 5/18/26 and another red outline around the Excel Add-On .msi file button.">
            <a:extLst>
              <a:ext uri="{FF2B5EF4-FFF2-40B4-BE49-F238E27FC236}">
                <a16:creationId xmlns:a16="http://schemas.microsoft.com/office/drawing/2014/main" id="{54FEE1DD-CDBB-DDD6-EF16-92A8EC157E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23437" y="1467971"/>
            <a:ext cx="4374396" cy="1707847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9262BE-9B9B-1190-97F0-7C72720A7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73125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B7C197-EB83-1966-0967-57DB2FBF70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F2389-87B9-7AEB-84FA-A9D0623F0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5013" y="35667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Training Up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3302F6-F571-6E09-18C0-AB9CB60DE8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2990" y="1816417"/>
            <a:ext cx="1775460" cy="234124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FEC3E2A-5D66-A865-ADBE-13D5DD202C6C}"/>
              </a:ext>
            </a:extLst>
          </p:cNvPr>
          <p:cNvSpPr txBox="1"/>
          <p:nvPr/>
        </p:nvSpPr>
        <p:spPr>
          <a:xfrm>
            <a:off x="3066625" y="4187408"/>
            <a:ext cx="5372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232B7C"/>
                </a:solidFill>
                <a:latin typeface="Calibri" panose="020F0502020204030204"/>
                <a:cs typeface="Calibri"/>
              </a:rPr>
              <a:t>Dawn Parrish</a:t>
            </a:r>
            <a:endParaRPr lang="en-US" b="1" dirty="0">
              <a:solidFill>
                <a:srgbClr val="232B7C"/>
              </a:solidFill>
              <a:latin typeface="Calibri" panose="020F0502020204030204"/>
              <a:ea typeface="Calibri"/>
              <a:cs typeface="Calibri"/>
            </a:endParaRPr>
          </a:p>
          <a:p>
            <a:pPr algn="ctr">
              <a:defRPr/>
            </a:pPr>
            <a:r>
              <a:rPr lang="en-US" b="1" dirty="0">
                <a:solidFill>
                  <a:srgbClr val="232B7C"/>
                </a:solidFill>
                <a:latin typeface="Calibri" panose="020F0502020204030204"/>
                <a:cs typeface="Calibri"/>
              </a:rPr>
              <a:t>Learning and Development </a:t>
            </a:r>
          </a:p>
          <a:p>
            <a:pPr algn="ctr">
              <a:defRPr/>
            </a:pPr>
            <a:r>
              <a:rPr lang="en-US" b="1" dirty="0">
                <a:solidFill>
                  <a:srgbClr val="232B7C"/>
                </a:solidFill>
                <a:latin typeface="Calibri" panose="020F0502020204030204"/>
                <a:cs typeface="Calibri"/>
              </a:rPr>
              <a:t>Special Projects Coordinator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D6D71AF-616E-5B40-D990-AC35C0F06D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FC41D506-63AD-6A02-8A95-38338BD42882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F74D94-8486-978B-D963-AC4AE076C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2ADB74-DF9A-6524-6014-ED13683239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63726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9CF04-2139-E50F-FFEF-BA0A3C9D7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708" y="353402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Training – Update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50133F-C213-71B2-4A51-5853E3645E47}"/>
              </a:ext>
            </a:extLst>
          </p:cNvPr>
          <p:cNvSpPr txBox="1"/>
          <p:nvPr/>
        </p:nvSpPr>
        <p:spPr>
          <a:xfrm>
            <a:off x="838200" y="1196592"/>
            <a:ext cx="11127658" cy="553997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400" b="1" dirty="0">
                <a:ea typeface="Calibri" panose="020F0502020204030204"/>
                <a:cs typeface="Calibri" panose="020F0502020204030204"/>
              </a:rPr>
              <a:t>Update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400" dirty="0">
                <a:ea typeface="Calibri" panose="020F0502020204030204"/>
                <a:cs typeface="Calibri" panose="020F0502020204030204"/>
              </a:rPr>
              <a:t>ACC103 in desig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ea typeface="Calibri" panose="020F0502020204030204"/>
                <a:cs typeface="Calibri" panose="020F0502020204030204"/>
              </a:rPr>
              <a:t>CM100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ea typeface="Calibri" panose="020F0502020204030204"/>
                <a:cs typeface="Calibri" panose="020F0502020204030204"/>
              </a:rPr>
              <a:t>Request the class: </a:t>
            </a:r>
            <a:r>
              <a:rPr lang="en-US" sz="2400" dirty="0">
                <a:ea typeface="+mn-lt"/>
                <a:cs typeface="+mn-lt"/>
                <a:hlinkClick r:id="rId4"/>
              </a:rPr>
              <a:t>Contact Us | NCOSC</a:t>
            </a:r>
            <a:endParaRPr lang="en-US" sz="2400" dirty="0">
              <a:ea typeface="Calibri" panose="020F0502020204030204"/>
              <a:cs typeface="Calibri" panose="020F0502020204030204"/>
            </a:endParaRP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ea typeface="Calibri" panose="020F0502020204030204"/>
                <a:cs typeface="Calibri" panose="020F0502020204030204"/>
              </a:rPr>
              <a:t>The class will be assigned to you in LMS.</a:t>
            </a:r>
            <a:endParaRPr lang="en-US" sz="2400" b="1" dirty="0">
              <a:ea typeface="Calibri" panose="020F0502020204030204"/>
              <a:cs typeface="Calibri" panose="020F0502020204030204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400" b="1" dirty="0">
                <a:ea typeface="Calibri" panose="020F0502020204030204"/>
                <a:cs typeface="Calibri" panose="020F0502020204030204"/>
              </a:rPr>
              <a:t>Security Role Procedure Reminder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400" dirty="0">
                <a:ea typeface="Calibri" panose="020F0502020204030204"/>
                <a:cs typeface="Calibri" panose="020F0502020204030204"/>
              </a:rPr>
              <a:t>What role do you need? </a:t>
            </a:r>
            <a:r>
              <a:rPr lang="en-US" sz="2400" dirty="0">
                <a:ea typeface="+mn-lt"/>
                <a:cs typeface="+mn-lt"/>
                <a:hlinkClick r:id="rId5"/>
              </a:rPr>
              <a:t>NCFS Security Roles | NCOSC</a:t>
            </a:r>
            <a:endParaRPr lang="en-US" sz="2400" dirty="0">
              <a:ea typeface="Calibri" panose="020F0502020204030204"/>
              <a:cs typeface="Calibri" panose="020F0502020204030204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400" dirty="0">
                <a:ea typeface="Calibri" panose="020F0502020204030204"/>
                <a:cs typeface="Calibri" panose="020F0502020204030204"/>
              </a:rPr>
              <a:t>Request the role from your security administrator. </a:t>
            </a:r>
            <a:r>
              <a:rPr lang="en-US" sz="2400" dirty="0">
                <a:ea typeface="+mn-lt"/>
                <a:cs typeface="+mn-lt"/>
                <a:hlinkClick r:id="rId6"/>
              </a:rPr>
              <a:t>NCFS Security Administrators | NCOSC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400" dirty="0">
                <a:ea typeface="Calibri" panose="020F0502020204030204"/>
                <a:cs typeface="Calibri" panose="020F0502020204030204"/>
              </a:rPr>
              <a:t>Take the required training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400" dirty="0">
                <a:ea typeface="Calibri" panose="020F0502020204030204"/>
                <a:cs typeface="Calibri" panose="020F0502020204030204"/>
              </a:rPr>
              <a:t>The role will be released to your position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AC1B34-E25D-976F-363A-E03A0C816A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7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98951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F764A021-18F7-5A66-97C2-10A055692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r Engage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6" b="4536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447625" y="4251416"/>
            <a:ext cx="499112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Lena Andra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NCFS User Engagement Lea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19177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ADFAC-5152-C649-E4BF-ACA08CDF2D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C081E-AC49-F4A6-7010-00628C195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anchor="ctr">
            <a:normAutofit/>
          </a:bodyPr>
          <a:lstStyle/>
          <a:p>
            <a:r>
              <a:rPr lang="en-US" sz="3700"/>
              <a:t>Feedback by Process Area - Agency</a:t>
            </a:r>
          </a:p>
        </p:txBody>
      </p:sp>
      <p:graphicFrame>
        <p:nvGraphicFramePr>
          <p:cNvPr id="6" name="Chart 5" descr="Agency Feedback chart by Process Area. AP: 8, AR: 8, Cash Management/IC: 6, Data Maintenance: 2, Fixed Assets: 6, GL: 10, No Issues: 10, Procurement: 3, Reporting: 17, Security: 1, System: 13, and Training: 2.">
            <a:extLst>
              <a:ext uri="{FF2B5EF4-FFF2-40B4-BE49-F238E27FC236}">
                <a16:creationId xmlns:a16="http://schemas.microsoft.com/office/drawing/2014/main" id="{787648AD-B312-B349-AF4C-ECE5A971AD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2105887"/>
              </p:ext>
            </p:extLst>
          </p:nvPr>
        </p:nvGraphicFramePr>
        <p:xfrm>
          <a:off x="639098" y="1297858"/>
          <a:ext cx="11425084" cy="4576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D89E5-2BDF-7AD5-9B10-098BF09ACC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9630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B81A0-5131-35F6-0B22-8A0B9FA5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b="1" kern="1200">
                <a:latin typeface="+mn-lt"/>
                <a:ea typeface="+mj-ea"/>
                <a:cs typeface="+mj-cs"/>
              </a:rPr>
              <a:t>Welcome</a:t>
            </a:r>
            <a:endParaRPr lang="en-US" b="1" kern="1200">
              <a:highlight>
                <a:srgbClr val="FFFF00"/>
              </a:highlight>
              <a:latin typeface="+mn-lt"/>
              <a:ea typeface="+mj-ea"/>
              <a:cs typeface="+mj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442988-53F0-37E5-E223-34C06CCE56FC}"/>
              </a:ext>
            </a:extLst>
          </p:cNvPr>
          <p:cNvSpPr txBox="1"/>
          <p:nvPr/>
        </p:nvSpPr>
        <p:spPr>
          <a:xfrm>
            <a:off x="838200" y="1255777"/>
            <a:ext cx="5181600" cy="4584192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L="457200" indent="-45720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Housekeeping </a:t>
            </a:r>
          </a:p>
          <a:p>
            <a:pPr marL="457200" indent="-45720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Introductions</a:t>
            </a:r>
          </a:p>
          <a:p>
            <a:pPr defTabSz="914377">
              <a:lnSpc>
                <a:spcPct val="90000"/>
              </a:lnSpc>
              <a:spcBef>
                <a:spcPts val="1000"/>
              </a:spcBef>
            </a:pPr>
            <a:endParaRPr lang="en-US" sz="2667" dirty="0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 dirty="0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6A0B30-A581-349A-8B40-94FA8B0BE4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2310766"/>
            <a:ext cx="5181600" cy="2474214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1F7E04-ED77-6419-BD6D-C6F2B838D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46546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C8608F-E132-3A04-1A24-98EFB907C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D6EC2-1670-0560-CC35-B088EE0C8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anchor="ctr">
            <a:normAutofit/>
          </a:bodyPr>
          <a:lstStyle/>
          <a:p>
            <a:r>
              <a:rPr lang="en-US" sz="3700"/>
              <a:t>Feedback by Process Area – Interface Grou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60C72F-069E-F5C9-0D55-4D231C579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graphicFrame>
        <p:nvGraphicFramePr>
          <p:cNvPr id="6" name="Chart 5" descr="Interface Groups Feedback chart by Process Area. Cash Management/IC: 6, Communications: 1, GL: 3, no Issues: 11, Reporting: 1, and System: 2.">
            <a:extLst>
              <a:ext uri="{FF2B5EF4-FFF2-40B4-BE49-F238E27FC236}">
                <a16:creationId xmlns:a16="http://schemas.microsoft.com/office/drawing/2014/main" id="{7719ED94-ED06-0DBB-5910-C1A84DA0BD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8962584"/>
              </p:ext>
            </p:extLst>
          </p:nvPr>
        </p:nvGraphicFramePr>
        <p:xfrm>
          <a:off x="838200" y="1253331"/>
          <a:ext cx="10671313" cy="4650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945210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38E70F-F8DC-823A-9CCE-6067310D7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FS Insights Train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9B0438-2AB8-EA50-7537-0D744163A36F}"/>
              </a:ext>
            </a:extLst>
          </p:cNvPr>
          <p:cNvSpPr txBox="1"/>
          <p:nvPr/>
        </p:nvSpPr>
        <p:spPr>
          <a:xfrm>
            <a:off x="838200" y="1148316"/>
            <a:ext cx="3446577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ea typeface="Calibri"/>
                <a:cs typeface="Calibri"/>
              </a:rPr>
              <a:t>Session held since Feb 2026: 4 </a:t>
            </a:r>
          </a:p>
          <a:p>
            <a:endParaRPr lang="en-US" sz="2000" b="1">
              <a:ea typeface="Calibri"/>
              <a:cs typeface="Calibri"/>
            </a:endParaRPr>
          </a:p>
          <a:p>
            <a:r>
              <a:rPr lang="en-US" sz="2000" b="1">
                <a:ea typeface="Calibri"/>
                <a:cs typeface="Calibri"/>
              </a:rPr>
              <a:t>Topics for May included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Smart View – Ove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CFR Year End Reporting, Transfers and Reimburs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Expense &amp; Accounts Payable Upd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CCB Process Upd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NCFS Timeout Upd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Training Demos - Transfers And Adding IC Attach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/>
          </a:p>
          <a:p>
            <a:r>
              <a:rPr lang="en-US" sz="2000"/>
              <a:t>Next session: July 8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hlinkClick r:id="rId4"/>
              </a:rPr>
              <a:t>NCFS Session Recordings</a:t>
            </a:r>
            <a:endParaRPr lang="en-US" sz="2000"/>
          </a:p>
          <a:p>
            <a:endParaRPr lang="en-US"/>
          </a:p>
        </p:txBody>
      </p:sp>
      <p:pic>
        <p:nvPicPr>
          <p:cNvPr id="2049" name="Picture 1" descr="Chart showing attendance for 4 2026 sessions. 172 attendees for February - agency: 111, University: 56, and Interface Groups: 5. 172 attendees for March - agency: 137, University: 34, and Interface Groups: 1. 136 attendees for April - agency: 136, University: 38, and Interface Groups: 2. 216 attendees for May - agency: 175, University: 37, and Interface Groups: 4.">
            <a:extLst>
              <a:ext uri="{FF2B5EF4-FFF2-40B4-BE49-F238E27FC236}">
                <a16:creationId xmlns:a16="http://schemas.microsoft.com/office/drawing/2014/main" id="{C043C367-71F6-E270-0B3F-02710984C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5" t="14509" r="4135"/>
          <a:stretch>
            <a:fillRect/>
          </a:stretch>
        </p:blipFill>
        <p:spPr bwMode="auto">
          <a:xfrm>
            <a:off x="4284777" y="1283008"/>
            <a:ext cx="7532849" cy="507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0FC300-B3F9-2D77-4CEB-E99E6EBD8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1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78254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A8E521-C190-29DE-EE8E-7D31847FA6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9B230-ECF0-DD86-3528-253311D9E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June 2026 Calendar</a:t>
            </a:r>
            <a:endParaRPr lang="en-US"/>
          </a:p>
        </p:txBody>
      </p:sp>
      <p:pic>
        <p:nvPicPr>
          <p:cNvPr id="20" name="Picture 19" descr="June 2026 calendar with NCFS Insights meeting, as well as functional updates and year end deadlines. Small banner text: 'NCFS Blackout Period 3 PM June 30th to mid-day, July 1st' outlined in red.">
            <a:extLst>
              <a:ext uri="{FF2B5EF4-FFF2-40B4-BE49-F238E27FC236}">
                <a16:creationId xmlns:a16="http://schemas.microsoft.com/office/drawing/2014/main" id="{F7D07169-03D4-D332-B855-776FFE8E2D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1042417"/>
            <a:ext cx="10832690" cy="532591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29AF568-97A9-AD36-5C67-BEA95E943BF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38200" y="6392938"/>
            <a:ext cx="8054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  <a:latin typeface="Aptos Narrow" panose="020B0004020202020204" pitchFamily="34" charset="0"/>
              </a:rPr>
              <a:t>*Subledgers – Accounts Payable, Fixed Assets, Inventory, and Accounts Payable</a:t>
            </a: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1161E6A2-B608-521B-48B8-4DA957DE7C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128919" y="6005946"/>
            <a:ext cx="3830517" cy="355376"/>
          </a:xfrm>
          <a:prstGeom prst="rect">
            <a:avLst/>
          </a:prstGeom>
          <a:solidFill>
            <a:schemeClr val="lt1"/>
          </a:solidFill>
          <a:ln w="57150" cmpd="sng">
            <a:solidFill>
              <a:srgbClr val="C00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ysClr val="windowText" lastClr="000000"/>
                </a:solidFill>
                <a:latin typeface="Aptos Narrow" panose="020B0004020202020204" pitchFamily="34" charset="0"/>
              </a:rPr>
              <a:t>NCFS Blackout Period 3</a:t>
            </a:r>
            <a:r>
              <a:rPr lang="en-US" sz="1200" b="1" baseline="0" dirty="0">
                <a:solidFill>
                  <a:sysClr val="windowText" lastClr="000000"/>
                </a:solidFill>
                <a:latin typeface="Aptos Narrow" panose="020B0004020202020204" pitchFamily="34" charset="0"/>
              </a:rPr>
              <a:t> PM June 30th - Mid-Day July 1st </a:t>
            </a:r>
            <a:endParaRPr lang="en-US" sz="1200" b="1" dirty="0">
              <a:solidFill>
                <a:sysClr val="windowText" lastClr="000000"/>
              </a:solidFill>
              <a:latin typeface="Aptos Narrow" panose="020B00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672AFD-E32E-2454-8B77-A7E256A0FA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27950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6E56D0-F849-21C3-CAF2-5190C81179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C211D2-662C-76C7-2CC1-0EF8DE2A5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July 2026 Calendar</a:t>
            </a:r>
            <a:endParaRPr lang="en-US"/>
          </a:p>
        </p:txBody>
      </p:sp>
      <p:pic>
        <p:nvPicPr>
          <p:cNvPr id="11" name="Picture 10" descr="July 2026 calendar with NCFS Insights meeting, as well as functional updates and deadlines. Small banner text: 'NCFS Blackout Period 3 PM June 30th to mid-day, July 1st' outlined in red.">
            <a:extLst>
              <a:ext uri="{FF2B5EF4-FFF2-40B4-BE49-F238E27FC236}">
                <a16:creationId xmlns:a16="http://schemas.microsoft.com/office/drawing/2014/main" id="{250698FD-42A3-727B-18BD-678F0A42D7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808" y="1106424"/>
            <a:ext cx="11442192" cy="5751576"/>
          </a:xfrm>
          <a:prstGeom prst="rect">
            <a:avLst/>
          </a:prstGeom>
        </p:spPr>
      </p:pic>
      <p:sp>
        <p:nvSpPr>
          <p:cNvPr id="4" name="TextBox 2">
            <a:extLst>
              <a:ext uri="{FF2B5EF4-FFF2-40B4-BE49-F238E27FC236}">
                <a16:creationId xmlns:a16="http://schemas.microsoft.com/office/drawing/2014/main" id="{98A1BBF9-E115-DD22-8E9F-1DEC3D98B9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286135" y="1414478"/>
            <a:ext cx="2078547" cy="487058"/>
          </a:xfrm>
          <a:prstGeom prst="rect">
            <a:avLst/>
          </a:prstGeom>
          <a:solidFill>
            <a:schemeClr val="lt1"/>
          </a:solidFill>
          <a:ln w="57150" cmpd="sng">
            <a:solidFill>
              <a:srgbClr val="C00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ysClr val="windowText" lastClr="000000"/>
                </a:solidFill>
                <a:latin typeface="Aptos Narrow" panose="020B0004020202020204" pitchFamily="34" charset="0"/>
              </a:rPr>
              <a:t>NCFS Blackout Period 3</a:t>
            </a:r>
            <a:r>
              <a:rPr lang="en-US" sz="1200" b="1" baseline="0" dirty="0">
                <a:solidFill>
                  <a:sysClr val="windowText" lastClr="000000"/>
                </a:solidFill>
                <a:latin typeface="Aptos Narrow" panose="020B0004020202020204" pitchFamily="34" charset="0"/>
              </a:rPr>
              <a:t> PM June 30th - Mid-Day July 1st </a:t>
            </a:r>
            <a:endParaRPr lang="en-US" sz="1200" b="1" dirty="0">
              <a:solidFill>
                <a:sysClr val="windowText" lastClr="000000"/>
              </a:solidFill>
              <a:latin typeface="Aptos Narrow" panose="020B00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A142E8-2420-6834-72F0-831CB99416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85019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89BAA-5872-D089-E718-D0ACC278B4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07CCF-7DF4-C0C1-B057-1324A66D2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What's Next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C10CBE-3407-3AE7-1D6D-03156938788F}"/>
              </a:ext>
            </a:extLst>
          </p:cNvPr>
          <p:cNvSpPr txBox="1"/>
          <p:nvPr/>
        </p:nvSpPr>
        <p:spPr>
          <a:xfrm>
            <a:off x="838198" y="1306320"/>
            <a:ext cx="11107995" cy="29238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628650" lvl="1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ea typeface="Calibri"/>
                <a:cs typeface="Calibri"/>
              </a:rPr>
              <a:t>ACFR Planning Conferences – May </a:t>
            </a:r>
            <a:r>
              <a:rPr lang="en-US" sz="2400" dirty="0">
                <a:ea typeface="Calibri"/>
                <a:cs typeface="Calibri"/>
                <a:sym typeface="Wingdings" panose="05000000000000000000" pitchFamily="2" charset="2"/>
              </a:rPr>
              <a:t>to</a:t>
            </a:r>
            <a:r>
              <a:rPr lang="en-US" sz="2400" dirty="0">
                <a:ea typeface="Calibri"/>
                <a:cs typeface="Calibri"/>
              </a:rPr>
              <a:t> July</a:t>
            </a:r>
          </a:p>
          <a:p>
            <a:pPr marL="628650" lvl="1" indent="-45720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400" dirty="0">
                <a:ea typeface="Calibri"/>
                <a:cs typeface="Calibri"/>
                <a:hlinkClick r:id="rId4"/>
              </a:rPr>
              <a:t>NCFS Fixed Assets</a:t>
            </a:r>
            <a:r>
              <a:rPr lang="en-US" sz="2400" dirty="0">
                <a:ea typeface="Calibri"/>
                <a:cs typeface="Calibri"/>
              </a:rPr>
              <a:t> Session – June 3rd 2:00 pm - 4:00 pm (Immediately following Insights)</a:t>
            </a:r>
          </a:p>
          <a:p>
            <a:pPr marL="628650" lvl="1" indent="-45720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400" dirty="0">
                <a:ea typeface="Calibri"/>
                <a:cs typeface="Calibri"/>
                <a:hlinkClick r:id="rId5"/>
              </a:rPr>
              <a:t>Smart View</a:t>
            </a:r>
            <a:r>
              <a:rPr lang="en-US" sz="2400" dirty="0">
                <a:ea typeface="Calibri"/>
                <a:cs typeface="Calibri"/>
              </a:rPr>
              <a:t> Session – June 9th 10:00 am – 11:00 am</a:t>
            </a:r>
          </a:p>
          <a:p>
            <a:pPr marL="628650" lvl="1" indent="-45720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400" dirty="0">
                <a:ea typeface="Calibri"/>
                <a:cs typeface="Calibri"/>
                <a:hlinkClick r:id="rId6"/>
              </a:rPr>
              <a:t>Year-End Accruals</a:t>
            </a:r>
            <a:r>
              <a:rPr lang="en-US" sz="2400" dirty="0">
                <a:ea typeface="Calibri"/>
                <a:cs typeface="Calibri"/>
              </a:rPr>
              <a:t> Session – June 15th 1:00 pm – 2:00 pm</a:t>
            </a:r>
          </a:p>
          <a:p>
            <a:pPr marL="628650" lvl="1" indent="-45720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400" dirty="0">
                <a:ea typeface="Calibri"/>
                <a:cs typeface="Calibri"/>
                <a:hlinkClick r:id="rId7"/>
              </a:rPr>
              <a:t>NCFS Insights</a:t>
            </a:r>
            <a:r>
              <a:rPr lang="en-US" sz="2400" dirty="0">
                <a:ea typeface="Calibri"/>
                <a:cs typeface="Calibri"/>
              </a:rPr>
              <a:t> Session - July 8th 1:00 pm - 2:00 pm (Note date change from July 1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5345A3-3A8F-3F2D-EB05-8E0A002D66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4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66803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7F12BE-A10A-65B4-E209-53E8C56C5B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063765-065A-F93F-DF0F-3F87562D2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Reference Link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6A27F5-9402-3B42-C908-58B260B8A59F}"/>
              </a:ext>
            </a:extLst>
          </p:cNvPr>
          <p:cNvSpPr txBox="1"/>
          <p:nvPr/>
        </p:nvSpPr>
        <p:spPr>
          <a:xfrm>
            <a:off x="838200" y="1086864"/>
            <a:ext cx="10360430" cy="56323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hlinkClick r:id="rId4"/>
              </a:rPr>
              <a:t>ADFDI Excel Add-On</a:t>
            </a:r>
            <a:r>
              <a:rPr lang="en-US" sz="2000" dirty="0"/>
              <a:t> </a:t>
            </a:r>
            <a:endParaRPr lang="en-US" sz="2000" dirty="0">
              <a:hlinkClick r:id="rId5"/>
            </a:endParaRPr>
          </a:p>
          <a:p>
            <a:r>
              <a:rPr lang="en-US" sz="2000" u="sng" dirty="0">
                <a:hlinkClick r:id="rId5"/>
              </a:rPr>
              <a:t>Invoice And PO Clean Up Actions</a:t>
            </a:r>
            <a:endParaRPr lang="en-US" sz="2000" dirty="0"/>
          </a:p>
          <a:p>
            <a:r>
              <a:rPr lang="en-US" sz="2000" u="sng" dirty="0">
                <a:hlinkClick r:id="rId6"/>
              </a:rPr>
              <a:t>NCFS Change Request Intake Form</a:t>
            </a:r>
            <a:endParaRPr lang="en-US" sz="2000" u="sng" dirty="0"/>
          </a:p>
          <a:p>
            <a:r>
              <a:rPr lang="en-US" sz="2000" u="sng" dirty="0">
                <a:hlinkClick r:id="rId7"/>
              </a:rPr>
              <a:t>NCFS Communications Web Page</a:t>
            </a:r>
            <a:endParaRPr lang="en-US" sz="2000" u="sng" dirty="0"/>
          </a:p>
          <a:p>
            <a:r>
              <a:rPr lang="en-US" sz="2000" dirty="0">
                <a:hlinkClick r:id="rId8"/>
              </a:rPr>
              <a:t>NCFS Pre-Built Reports</a:t>
            </a:r>
            <a:endParaRPr lang="en-US" sz="2000" dirty="0"/>
          </a:p>
          <a:p>
            <a:r>
              <a:rPr lang="en-US" sz="2000" u="sng" dirty="0">
                <a:hlinkClick r:id="rId9"/>
              </a:rPr>
              <a:t>NCFS Production (Oracle Cloud)</a:t>
            </a:r>
            <a:endParaRPr lang="en-US" sz="2000" dirty="0"/>
          </a:p>
          <a:p>
            <a:r>
              <a:rPr lang="en-US" sz="2000" u="sng" dirty="0">
                <a:hlinkClick r:id="rId10"/>
              </a:rPr>
              <a:t>NCFS Year End Checklist</a:t>
            </a:r>
            <a:endParaRPr lang="en-US" sz="2000" dirty="0"/>
          </a:p>
          <a:p>
            <a:r>
              <a:rPr lang="en-US" sz="2000" u="sng" dirty="0">
                <a:hlinkClick r:id="rId11"/>
              </a:rPr>
              <a:t>OSC Year-End Financial Reporting Packages - Home (sharepoint.com)</a:t>
            </a:r>
            <a:endParaRPr lang="en-US" sz="2000" u="sng" dirty="0"/>
          </a:p>
          <a:p>
            <a:r>
              <a:rPr lang="en-US" sz="2000" u="sng" dirty="0">
                <a:hlinkClick r:id="rId12"/>
              </a:rPr>
              <a:t>QRG EX-09 Create and Manage Employee Information</a:t>
            </a:r>
            <a:endParaRPr lang="en-US" sz="2000" u="sng" dirty="0"/>
          </a:p>
          <a:p>
            <a:r>
              <a:rPr lang="en-US" sz="2000" u="sng" dirty="0">
                <a:hlinkClick r:id="rId13"/>
              </a:rPr>
              <a:t>Transfer Reports</a:t>
            </a:r>
            <a:endParaRPr lang="en-US" sz="2000" u="sng" dirty="0"/>
          </a:p>
          <a:p>
            <a:r>
              <a:rPr lang="en-US" sz="2000" u="sng" dirty="0">
                <a:hlinkClick r:id="rId14"/>
              </a:rPr>
              <a:t>IC Contacts</a:t>
            </a:r>
            <a:r>
              <a:rPr lang="en-US" sz="2000" b="1" dirty="0"/>
              <a:t> - Check your Agency/University/Interface Group and update if needed.</a:t>
            </a:r>
            <a:endParaRPr lang="en-US" sz="2000" b="1" u="sng" dirty="0">
              <a:solidFill>
                <a:srgbClr val="0070C0"/>
              </a:solidFill>
            </a:endParaRPr>
          </a:p>
          <a:p>
            <a:r>
              <a:rPr lang="en-US" sz="2000" u="sng" dirty="0">
                <a:solidFill>
                  <a:srgbClr val="0070C0"/>
                </a:solidFill>
                <a:hlinkClick r:id="rId15"/>
              </a:rPr>
              <a:t>NCFS Functional Calendars</a:t>
            </a:r>
            <a:endParaRPr lang="en-US" sz="2000" u="sng" dirty="0">
              <a:solidFill>
                <a:srgbClr val="0070C0"/>
              </a:solidFill>
            </a:endParaRPr>
          </a:p>
          <a:p>
            <a:r>
              <a:rPr lang="en-US" sz="2000" u="sng" dirty="0">
                <a:solidFill>
                  <a:srgbClr val="0070C0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Gen-11 Reference Links</a:t>
            </a:r>
            <a:endParaRPr lang="en-US" sz="2000" dirty="0">
              <a:solidFill>
                <a:srgbClr val="0070C0"/>
              </a:solidFill>
            </a:endParaRPr>
          </a:p>
          <a:p>
            <a:pPr>
              <a:buClr>
                <a:schemeClr val="tx1"/>
              </a:buClr>
            </a:pPr>
            <a:r>
              <a:rPr lang="en-US" sz="2000" u="sng" dirty="0">
                <a:solidFill>
                  <a:srgbClr val="0070C0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Help Documents</a:t>
            </a:r>
            <a:endParaRPr lang="en-US" sz="2000" dirty="0">
              <a:solidFill>
                <a:srgbClr val="0070C0"/>
              </a:solidFill>
            </a:endParaRPr>
          </a:p>
          <a:p>
            <a:pPr>
              <a:buClr>
                <a:schemeClr val="tx1"/>
              </a:buClr>
            </a:pPr>
            <a:r>
              <a:rPr lang="en-US" sz="2000" u="sng" dirty="0">
                <a:solidFill>
                  <a:srgbClr val="0070C0"/>
                </a:solidFill>
              </a:rPr>
              <a:t>NCFS Resources</a:t>
            </a:r>
          </a:p>
          <a:p>
            <a:pPr>
              <a:buClr>
                <a:schemeClr val="tx1"/>
              </a:buClr>
            </a:pPr>
            <a:r>
              <a:rPr lang="en-US" sz="2000" u="sng" dirty="0">
                <a:solidFill>
                  <a:srgbClr val="0070C0"/>
                </a:solidFill>
                <a:hlinkClick r:id="rId18"/>
              </a:rPr>
              <a:t>NCFS Security Administrators</a:t>
            </a:r>
            <a:endParaRPr lang="en-US" sz="2000" u="sng" dirty="0">
              <a:solidFill>
                <a:srgbClr val="0070C0"/>
              </a:solidFill>
            </a:endParaRPr>
          </a:p>
          <a:p>
            <a:pPr>
              <a:buClr>
                <a:schemeClr val="tx1"/>
              </a:buClr>
            </a:pPr>
            <a:r>
              <a:rPr lang="en-US" sz="2000" u="sng" dirty="0">
                <a:solidFill>
                  <a:srgbClr val="0070C0"/>
                </a:solidFill>
                <a:hlinkClick r:id="rId19"/>
              </a:rPr>
              <a:t>NCFS Security Roles</a:t>
            </a:r>
            <a:endParaRPr lang="en-US" sz="2000" u="sng" dirty="0">
              <a:solidFill>
                <a:srgbClr val="0070C0"/>
              </a:solidFill>
            </a:endParaRPr>
          </a:p>
          <a:p>
            <a:pPr>
              <a:buClr>
                <a:schemeClr val="tx1"/>
              </a:buClr>
            </a:pPr>
            <a:r>
              <a:rPr lang="en-US" sz="2000" u="sng" dirty="0">
                <a:solidFill>
                  <a:srgbClr val="0070C0"/>
                </a:solidFill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System Training</a:t>
            </a:r>
            <a:endParaRPr lang="en-US" u="sng" dirty="0">
              <a:solidFill>
                <a:srgbClr val="0070C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67DB85-893F-7E26-9C70-1D7F4228DC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5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89832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9419E5-4D85-292B-831F-B4D9BF16C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E4DA-9999-1D76-E3E3-C0EB23E33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SC Webpage Resourc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3EB1A55-D3ED-2440-A368-D839F10BB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>
                <a:hlinkClick r:id="rId4"/>
              </a:rPr>
              <a:t>Communication Archives</a:t>
            </a:r>
            <a:endParaRPr lang="en-US" sz="2400" dirty="0"/>
          </a:p>
        </p:txBody>
      </p:sp>
      <p:pic>
        <p:nvPicPr>
          <p:cNvPr id="9" name="Picture 8" descr="General Information list showing links to memos and NCFS newsletters.">
            <a:extLst>
              <a:ext uri="{FF2B5EF4-FFF2-40B4-BE49-F238E27FC236}">
                <a16:creationId xmlns:a16="http://schemas.microsoft.com/office/drawing/2014/main" id="{F2707044-8DC0-88AE-A5AA-E79C32326D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9564" y="1202683"/>
            <a:ext cx="7351203" cy="2973520"/>
          </a:xfrm>
          <a:prstGeom prst="rect">
            <a:avLst/>
          </a:prstGeom>
        </p:spPr>
      </p:pic>
      <p:pic>
        <p:nvPicPr>
          <p:cNvPr id="11" name="Picture 10" descr="Information Sessions list showing links to video recordings and PowerPoint presentations.">
            <a:extLst>
              <a:ext uri="{FF2B5EF4-FFF2-40B4-BE49-F238E27FC236}">
                <a16:creationId xmlns:a16="http://schemas.microsoft.com/office/drawing/2014/main" id="{8E4F6A71-25F3-FEB9-B625-A540F0706B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19564" y="4257427"/>
            <a:ext cx="6371455" cy="238655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7DDCF1-0456-EC44-0C58-7B4070E3DE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9292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C0E61-8BAC-2A5A-C8C6-75A0D0321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8984D-9E09-1C52-F743-3B26AA213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/>
                <a:cs typeface="Calibri"/>
              </a:rPr>
              <a:t>Questions &amp; Answer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1F65FA-1861-16F0-4103-54324B032C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5937" y="1686790"/>
            <a:ext cx="2153980" cy="27362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B3F0A91-2B89-FF81-6E67-4240BC1CF794}"/>
              </a:ext>
            </a:extLst>
          </p:cNvPr>
          <p:cNvSpPr txBox="1"/>
          <p:nvPr/>
        </p:nvSpPr>
        <p:spPr>
          <a:xfrm>
            <a:off x="915785" y="4546964"/>
            <a:ext cx="10360430" cy="1252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650" dirty="0">
                <a:hlinkClick r:id="rId5"/>
              </a:rPr>
              <a:t>Give us your feedback!</a:t>
            </a:r>
            <a:endParaRPr lang="en-US" sz="2650" dirty="0"/>
          </a:p>
          <a:p>
            <a:pPr algn="ctr">
              <a:lnSpc>
                <a:spcPct val="150000"/>
              </a:lnSpc>
            </a:pPr>
            <a:r>
              <a:rPr lang="en-US" sz="2650" dirty="0"/>
              <a:t>Contact us: </a:t>
            </a:r>
            <a:r>
              <a:rPr lang="en-US" sz="2650" dirty="0">
                <a:hlinkClick r:id="rId6"/>
              </a:rPr>
              <a:t>ncfs@ncosc.gov</a:t>
            </a:r>
            <a:endParaRPr lang="en-US" sz="265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072AB2-1A14-3DB0-318D-3BFE33DAC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7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5516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EA3CF6-BA14-8A7E-F620-A37BCC3CE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200EC-FE57-102C-B7BB-AAEAADF669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lcome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Functional 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Technical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Security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Training</a:t>
            </a:r>
          </a:p>
          <a:p>
            <a:pPr marL="227965" indent="-227965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User Engagement</a:t>
            </a:r>
            <a:endParaRPr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Closing/Q&amp;A</a:t>
            </a:r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984349-060F-D228-98FD-7E71A7E0EA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5699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49EFAA-5E92-0BB6-E871-2C5F23B65B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6103E86-075D-9A77-3A3B-6FA0A08AB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/>
              <a:t>Presenters 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6" name="Group 5" descr="Gwen Earp, Business Systems Manager">
            <a:extLst>
              <a:ext uri="{FF2B5EF4-FFF2-40B4-BE49-F238E27FC236}">
                <a16:creationId xmlns:a16="http://schemas.microsoft.com/office/drawing/2014/main" id="{C96E90B0-DBA6-B8A2-8E1D-C18174BA2A83}"/>
              </a:ext>
            </a:extLst>
          </p:cNvPr>
          <p:cNvGrpSpPr/>
          <p:nvPr/>
        </p:nvGrpSpPr>
        <p:grpSpPr>
          <a:xfrm>
            <a:off x="919745" y="1940731"/>
            <a:ext cx="4556673" cy="1247663"/>
            <a:chOff x="1550321" y="1742356"/>
            <a:chExt cx="4775645" cy="164433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6FA3F01-B559-A588-604A-C3941AFE9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9DEBAC0-7E1B-D19D-02AD-BFD11EF3CCCD}"/>
                </a:ext>
              </a:extLst>
            </p:cNvPr>
            <p:cNvGrpSpPr/>
            <p:nvPr/>
          </p:nvGrpSpPr>
          <p:grpSpPr>
            <a:xfrm>
              <a:off x="1592229" y="1753833"/>
              <a:ext cx="4733737" cy="1632856"/>
              <a:chOff x="2042232" y="4132831"/>
              <a:chExt cx="4733737" cy="1632856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9E8BF47B-328A-5F0E-4D8F-AD16EBC9D619}"/>
                  </a:ext>
                </a:extLst>
              </p:cNvPr>
              <p:cNvSpPr/>
              <p:nvPr/>
            </p:nvSpPr>
            <p:spPr>
              <a:xfrm>
                <a:off x="2042232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0D1AE5F-B6A7-232D-ACC6-4CFF389A9B43}"/>
                  </a:ext>
                </a:extLst>
              </p:cNvPr>
              <p:cNvSpPr txBox="1"/>
              <p:nvPr/>
            </p:nvSpPr>
            <p:spPr>
              <a:xfrm>
                <a:off x="3540087" y="4477207"/>
                <a:ext cx="3117191" cy="93294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r>
                  <a:rPr lang="en-US" sz="2000">
                    <a:solidFill>
                      <a:schemeClr val="accent5">
                        <a:lumMod val="50000"/>
                      </a:schemeClr>
                    </a:solidFill>
                  </a:rPr>
                  <a:t>Gwen Earp</a:t>
                </a:r>
              </a:p>
              <a:p>
                <a:r>
                  <a:rPr lang="en-US" sz="2000">
                    <a:solidFill>
                      <a:schemeClr val="accent5">
                        <a:lumMod val="50000"/>
                      </a:schemeClr>
                    </a:solidFill>
                    <a:ea typeface="Calibri"/>
                    <a:cs typeface="Calibri"/>
                  </a:rPr>
                  <a:t>Business Systems Manager</a:t>
                </a:r>
                <a:endParaRPr lang="en-US" sz="2000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</p:grp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8416D005-1A16-37D6-AF99-31515EC01E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5938" b="5938"/>
          <a:stretch>
            <a:fillRect/>
          </a:stretch>
        </p:blipFill>
        <p:spPr>
          <a:xfrm>
            <a:off x="965103" y="1934405"/>
            <a:ext cx="1250897" cy="1258584"/>
          </a:xfrm>
          <a:prstGeom prst="flowChartConnector">
            <a:avLst/>
          </a:prstGeom>
        </p:spPr>
      </p:pic>
      <p:grpSp>
        <p:nvGrpSpPr>
          <p:cNvPr id="12" name="Group 11" descr="Taylor Brumbeloe, NCFS Deputy State Controller">
            <a:extLst>
              <a:ext uri="{FF2B5EF4-FFF2-40B4-BE49-F238E27FC236}">
                <a16:creationId xmlns:a16="http://schemas.microsoft.com/office/drawing/2014/main" id="{7C5DB2B2-48B9-D0DA-86D8-48760FCBDD8C}"/>
              </a:ext>
            </a:extLst>
          </p:cNvPr>
          <p:cNvGrpSpPr/>
          <p:nvPr/>
        </p:nvGrpSpPr>
        <p:grpSpPr>
          <a:xfrm>
            <a:off x="6096000" y="1909896"/>
            <a:ext cx="4495479" cy="1272957"/>
            <a:chOff x="646477" y="194866"/>
            <a:chExt cx="5192364" cy="1638153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2FEB030-5891-B649-75CC-679CE4D6C080}"/>
                </a:ext>
              </a:extLst>
            </p:cNvPr>
            <p:cNvGrpSpPr/>
            <p:nvPr/>
          </p:nvGrpSpPr>
          <p:grpSpPr>
            <a:xfrm>
              <a:off x="646477" y="194866"/>
              <a:ext cx="5192364" cy="1638153"/>
              <a:chOff x="1550321" y="1742356"/>
              <a:chExt cx="5192364" cy="1638153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FFDEA674-2EEA-CC1E-7BED-63C32E98DD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1" cy="1638153"/>
              </a:xfrm>
              <a:prstGeom prst="rect">
                <a:avLst/>
              </a:prstGeom>
            </p:spPr>
          </p:pic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F66892D1-DF0B-968F-9B59-F2AE40C44238}"/>
                  </a:ext>
                </a:extLst>
              </p:cNvPr>
              <p:cNvSpPr/>
              <p:nvPr/>
            </p:nvSpPr>
            <p:spPr>
              <a:xfrm>
                <a:off x="1568418" y="1755659"/>
                <a:ext cx="5174267" cy="160904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F9394D4-0A4F-A460-0FDF-F2EEA4F15EFE}"/>
                </a:ext>
              </a:extLst>
            </p:cNvPr>
            <p:cNvSpPr txBox="1"/>
            <p:nvPr/>
          </p:nvSpPr>
          <p:spPr>
            <a:xfrm>
              <a:off x="2917098" y="439900"/>
              <a:ext cx="2649760" cy="1188222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Taylor Brumbeloe</a:t>
              </a:r>
              <a:endParaRPr lang="en-US">
                <a:solidFill>
                  <a:schemeClr val="accent5">
                    <a:lumMod val="50000"/>
                  </a:schemeClr>
                </a:solidFill>
              </a:endParaRPr>
            </a:p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</a:rPr>
                <a:t>NCFS Deputy State </a:t>
              </a:r>
              <a:br>
                <a:rPr lang="en-US">
                  <a:solidFill>
                    <a:schemeClr val="accent5">
                      <a:lumMod val="50000"/>
                    </a:schemeClr>
                  </a:solidFill>
                </a:rPr>
              </a:br>
              <a:r>
                <a:rPr lang="en-US">
                  <a:solidFill>
                    <a:schemeClr val="accent5">
                      <a:lumMod val="50000"/>
                    </a:schemeClr>
                  </a:solidFill>
                </a:rPr>
                <a:t>Controller</a:t>
              </a:r>
              <a:endParaRPr lang="en-US">
                <a:solidFill>
                  <a:schemeClr val="accent5">
                    <a:lumMod val="50000"/>
                  </a:schemeClr>
                </a:solidFill>
                <a:cs typeface="Calibri"/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E983C9AF-0903-8364-FAD3-BBB829941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11668" y="1930541"/>
            <a:ext cx="1211772" cy="1250337"/>
          </a:xfrm>
          <a:prstGeom prst="flowChartConnector">
            <a:avLst/>
          </a:prstGeom>
        </p:spPr>
      </p:pic>
      <p:grpSp>
        <p:nvGrpSpPr>
          <p:cNvPr id="42" name="Group 41" descr="Ram Kuntamukkala, Application Systems Manager">
            <a:extLst>
              <a:ext uri="{FF2B5EF4-FFF2-40B4-BE49-F238E27FC236}">
                <a16:creationId xmlns:a16="http://schemas.microsoft.com/office/drawing/2014/main" id="{9A6F5478-0D72-0742-9D10-08B8CB18D7F0}"/>
              </a:ext>
            </a:extLst>
          </p:cNvPr>
          <p:cNvGrpSpPr/>
          <p:nvPr/>
        </p:nvGrpSpPr>
        <p:grpSpPr>
          <a:xfrm>
            <a:off x="919745" y="3602612"/>
            <a:ext cx="4556673" cy="1285672"/>
            <a:chOff x="1550321" y="1742356"/>
            <a:chExt cx="4775645" cy="1694426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52AC7B3E-9835-3179-99AB-26744DA055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63F4B67B-2B1B-D86F-F662-D3C6E71840C6}"/>
                </a:ext>
              </a:extLst>
            </p:cNvPr>
            <p:cNvGrpSpPr/>
            <p:nvPr/>
          </p:nvGrpSpPr>
          <p:grpSpPr>
            <a:xfrm>
              <a:off x="1592229" y="1753833"/>
              <a:ext cx="4733737" cy="1682949"/>
              <a:chOff x="2042232" y="4132831"/>
              <a:chExt cx="4733737" cy="1682949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0D3E6128-7113-C01E-F5CF-C4DA1D519D73}"/>
                  </a:ext>
                </a:extLst>
              </p:cNvPr>
              <p:cNvSpPr/>
              <p:nvPr/>
            </p:nvSpPr>
            <p:spPr>
              <a:xfrm>
                <a:off x="2042232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EB26D168-1DD8-6803-56AD-9595929C8817}"/>
                  </a:ext>
                </a:extLst>
              </p:cNvPr>
              <p:cNvSpPr txBox="1"/>
              <p:nvPr/>
            </p:nvSpPr>
            <p:spPr>
              <a:xfrm>
                <a:off x="3540087" y="4477207"/>
                <a:ext cx="3117191" cy="133857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r>
                  <a:rPr lang="en-US" sz="2000">
                    <a:solidFill>
                      <a:schemeClr val="accent5">
                        <a:lumMod val="50000"/>
                      </a:schemeClr>
                    </a:solidFill>
                  </a:rPr>
                  <a:t>Ram Kuntamukkala</a:t>
                </a:r>
              </a:p>
              <a:p>
                <a:r>
                  <a:rPr lang="en-US" sz="2000">
                    <a:solidFill>
                      <a:schemeClr val="accent5">
                        <a:lumMod val="50000"/>
                      </a:schemeClr>
                    </a:solidFill>
                    <a:ea typeface="Calibri"/>
                    <a:cs typeface="Calibri"/>
                  </a:rPr>
                  <a:t>Application Systems Manager</a:t>
                </a:r>
                <a:endParaRPr lang="en-US" sz="2000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</p:grp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2B19F42-9987-AD16-E129-0A1E499D1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9731" y="3595572"/>
            <a:ext cx="1158703" cy="1259831"/>
          </a:xfrm>
          <a:prstGeom prst="flowChartConnector">
            <a:avLst/>
          </a:prstGeom>
        </p:spPr>
      </p:pic>
      <p:grpSp>
        <p:nvGrpSpPr>
          <p:cNvPr id="17" name="Group 16" descr="Dawn Parrish, NCFS Training">
            <a:extLst>
              <a:ext uri="{FF2B5EF4-FFF2-40B4-BE49-F238E27FC236}">
                <a16:creationId xmlns:a16="http://schemas.microsoft.com/office/drawing/2014/main" id="{3CC67E1C-8D30-5BB9-5E5C-72B92B74EC86}"/>
              </a:ext>
            </a:extLst>
          </p:cNvPr>
          <p:cNvGrpSpPr/>
          <p:nvPr/>
        </p:nvGrpSpPr>
        <p:grpSpPr>
          <a:xfrm>
            <a:off x="6125284" y="3645113"/>
            <a:ext cx="4556673" cy="1247663"/>
            <a:chOff x="1550321" y="1742356"/>
            <a:chExt cx="4775645" cy="1644333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1A1C2C6-BCB1-716F-9C88-3B7D80D32A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BBF9A9E5-A934-D1EB-690C-D3CDEBE4CD22}"/>
                </a:ext>
              </a:extLst>
            </p:cNvPr>
            <p:cNvGrpSpPr/>
            <p:nvPr/>
          </p:nvGrpSpPr>
          <p:grpSpPr>
            <a:xfrm>
              <a:off x="1592229" y="1753833"/>
              <a:ext cx="4733737" cy="1632856"/>
              <a:chOff x="2042232" y="4132831"/>
              <a:chExt cx="4733737" cy="1632856"/>
            </a:xfrm>
          </p:grpSpPr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A933E925-28B8-A5AB-6ACD-9B29A4EB270A}"/>
                  </a:ext>
                </a:extLst>
              </p:cNvPr>
              <p:cNvSpPr/>
              <p:nvPr/>
            </p:nvSpPr>
            <p:spPr>
              <a:xfrm>
                <a:off x="2042232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25ABC94E-6EE0-5C58-F480-880E02B108C6}"/>
                  </a:ext>
                </a:extLst>
              </p:cNvPr>
              <p:cNvSpPr txBox="1"/>
              <p:nvPr/>
            </p:nvSpPr>
            <p:spPr>
              <a:xfrm>
                <a:off x="3540087" y="4477207"/>
                <a:ext cx="3117191" cy="93294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r>
                  <a:rPr lang="en-US" sz="2000">
                    <a:solidFill>
                      <a:schemeClr val="accent5">
                        <a:lumMod val="50000"/>
                      </a:schemeClr>
                    </a:solidFill>
                  </a:rPr>
                  <a:t>Dawn Parrish</a:t>
                </a:r>
              </a:p>
              <a:p>
                <a:r>
                  <a:rPr lang="en-US" sz="2000">
                    <a:solidFill>
                      <a:schemeClr val="accent5">
                        <a:lumMod val="50000"/>
                      </a:schemeClr>
                    </a:solidFill>
                    <a:ea typeface="Calibri"/>
                    <a:cs typeface="Calibri"/>
                  </a:rPr>
                  <a:t>NCFS Training</a:t>
                </a:r>
                <a:endParaRPr lang="en-US" sz="2000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2E23AEDB-E45F-8B27-E195-5A8A1871E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73" b="11273"/>
          <a:stretch/>
        </p:blipFill>
        <p:spPr>
          <a:xfrm>
            <a:off x="6165270" y="3674967"/>
            <a:ext cx="1228722" cy="1255257"/>
          </a:xfrm>
          <a:prstGeom prst="flowChartConnector">
            <a:avLst/>
          </a:prstGeom>
        </p:spPr>
      </p:pic>
      <p:grpSp>
        <p:nvGrpSpPr>
          <p:cNvPr id="14" name="Group 13" descr="Lena Andrade, NCFS User Engagement Lead">
            <a:extLst>
              <a:ext uri="{FF2B5EF4-FFF2-40B4-BE49-F238E27FC236}">
                <a16:creationId xmlns:a16="http://schemas.microsoft.com/office/drawing/2014/main" id="{5C126C0F-3526-6420-509F-736A6C21018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3650091" y="5191525"/>
            <a:ext cx="4495480" cy="1272955"/>
            <a:chOff x="646477" y="194866"/>
            <a:chExt cx="5192364" cy="1638153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9F983CE-17FE-10CF-E3AB-5A8AE1CAC217}"/>
                </a:ext>
              </a:extLst>
            </p:cNvPr>
            <p:cNvGrpSpPr/>
            <p:nvPr/>
          </p:nvGrpSpPr>
          <p:grpSpPr>
            <a:xfrm>
              <a:off x="646477" y="194866"/>
              <a:ext cx="5192364" cy="1638153"/>
              <a:chOff x="1550321" y="1742356"/>
              <a:chExt cx="5192364" cy="1638153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1982AC80-0336-1E10-3287-E8482F906B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1" cy="1638153"/>
              </a:xfrm>
              <a:prstGeom prst="rect">
                <a:avLst/>
              </a:prstGeom>
            </p:spPr>
          </p:pic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8F4CBF81-D3A1-BD1C-7003-6647870E43DF}"/>
                  </a:ext>
                </a:extLst>
              </p:cNvPr>
              <p:cNvSpPr/>
              <p:nvPr/>
            </p:nvSpPr>
            <p:spPr>
              <a:xfrm>
                <a:off x="1568418" y="1755659"/>
                <a:ext cx="5174267" cy="160904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D042D989-C8D0-2C7C-2655-0AC08102DDA8}"/>
                </a:ext>
              </a:extLst>
            </p:cNvPr>
            <p:cNvSpPr txBox="1"/>
            <p:nvPr/>
          </p:nvSpPr>
          <p:spPr>
            <a:xfrm>
              <a:off x="2324612" y="449388"/>
              <a:ext cx="3088595" cy="1307043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 sz="2000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Lena Andrade</a:t>
              </a:r>
              <a:endParaRPr lang="en-US" sz="2000">
                <a:solidFill>
                  <a:schemeClr val="accent5">
                    <a:lumMod val="50000"/>
                  </a:schemeClr>
                </a:solidFill>
              </a:endParaRPr>
            </a:p>
            <a:p>
              <a:r>
                <a:rPr lang="en-US" sz="2000">
                  <a:solidFill>
                    <a:schemeClr val="accent5">
                      <a:lumMod val="50000"/>
                    </a:schemeClr>
                  </a:solidFill>
                </a:rPr>
                <a:t>NCFS User Engagement </a:t>
              </a:r>
            </a:p>
            <a:p>
              <a:r>
                <a:rPr lang="en-US" sz="2000">
                  <a:solidFill>
                    <a:schemeClr val="accent5">
                      <a:lumMod val="50000"/>
                    </a:schemeClr>
                  </a:solidFill>
                </a:rPr>
                <a:t>Lead</a:t>
              </a:r>
              <a:endParaRPr lang="en-US" sz="2000">
                <a:solidFill>
                  <a:schemeClr val="accent5">
                    <a:lumMod val="50000"/>
                  </a:schemeClr>
                </a:solidFill>
                <a:cs typeface="Calibri"/>
              </a:endParaRPr>
            </a:p>
          </p:txBody>
        </p:sp>
      </p:grpSp>
      <p:pic>
        <p:nvPicPr>
          <p:cNvPr id="56" name="Picture 55">
            <a:extLst>
              <a:ext uri="{FF2B5EF4-FFF2-40B4-BE49-F238E27FC236}">
                <a16:creationId xmlns:a16="http://schemas.microsoft.com/office/drawing/2014/main" id="{03D7B004-1C00-46A5-BAB2-93F3676FB1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" r="1492"/>
          <a:stretch/>
        </p:blipFill>
        <p:spPr>
          <a:xfrm>
            <a:off x="3665759" y="5191525"/>
            <a:ext cx="1211772" cy="1250337"/>
          </a:xfrm>
          <a:prstGeom prst="flowChartConnector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219336-84E6-DEDB-24BC-E65536D137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4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0318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A47DA-943A-DE76-15A3-217C674DDA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560E826-BDAA-1386-CB43-CFF481C3D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/>
              <a:t>Polling Ques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46718B-A9AE-0340-D839-86FFC8DAEE9C}"/>
              </a:ext>
            </a:extLst>
          </p:cNvPr>
          <p:cNvSpPr txBox="1"/>
          <p:nvPr/>
        </p:nvSpPr>
        <p:spPr>
          <a:xfrm>
            <a:off x="1035558" y="1375104"/>
            <a:ext cx="8977122" cy="32154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en-US" sz="2400" kern="100" dirty="0">
                <a:effectLst/>
                <a:ea typeface="Aptos" panose="020B0004020202020204" pitchFamily="34" charset="0"/>
                <a:cs typeface="Times New Roman"/>
              </a:rPr>
              <a:t>What NCFS resources are </a:t>
            </a:r>
            <a:r>
              <a:rPr lang="en-US" sz="2400" kern="100" dirty="0">
                <a:ea typeface="Aptos" panose="020B0004020202020204" pitchFamily="34" charset="0"/>
                <a:cs typeface="Times New Roman"/>
              </a:rPr>
              <a:t>most helpful in your daily processes</a:t>
            </a:r>
            <a:r>
              <a:rPr lang="en-US" sz="2400" kern="100" dirty="0">
                <a:effectLst/>
                <a:ea typeface="Aptos" panose="020B0004020202020204" pitchFamily="34" charset="0"/>
                <a:cs typeface="Times New Roman"/>
              </a:rPr>
              <a:t>?</a:t>
            </a:r>
            <a:endParaRPr lang="en-US" sz="2400" kern="100" dirty="0">
              <a:ea typeface="Aptos" panose="020B0004020202020204" pitchFamily="34" charset="0"/>
              <a:cs typeface="Times New Roman"/>
            </a:endParaRP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ea typeface="Aptos" panose="020B0004020202020204" pitchFamily="34" charset="0"/>
                <a:cs typeface="Times New Roman"/>
              </a:rPr>
              <a:t>NCFS Communications</a:t>
            </a:r>
            <a:r>
              <a:rPr lang="en-US" sz="2400" kern="100" dirty="0">
                <a:effectLst/>
                <a:ea typeface="Aptos" panose="020B0004020202020204" pitchFamily="34" charset="0"/>
                <a:cs typeface="Times New Roman"/>
              </a:rPr>
              <a:t> Web Page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ea typeface="Aptos" panose="020B0004020202020204" pitchFamily="34" charset="0"/>
                <a:cs typeface="Times New Roman"/>
              </a:rPr>
              <a:t>NCFS Help</a:t>
            </a:r>
            <a:r>
              <a:rPr lang="en-US" sz="2400" kern="100" dirty="0">
                <a:effectLst/>
                <a:ea typeface="Aptos" panose="020B0004020202020204" pitchFamily="34" charset="0"/>
                <a:cs typeface="Times New Roman"/>
              </a:rPr>
              <a:t> Documents (Reports, Job Aids, QRGs)</a:t>
            </a:r>
          </a:p>
          <a:p>
            <a:pPr marL="342900" marR="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structor Led Training Cours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Web Based Training Courses</a:t>
            </a:r>
            <a:endParaRPr lang="en-US" sz="2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7BA158-C8A6-3B3A-30D7-1F51331A4B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5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7864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5B80A7-C0C5-1E6E-ADAC-9196B72D62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11BFD-4539-E98D-5862-EA42BB677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5013" y="35667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Materia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683C5C-02EC-E179-E3FB-A1A950F76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9157" y="1863699"/>
            <a:ext cx="2047056" cy="23371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7E5CC87-6199-CBDC-1584-2DF158D5DBBF}"/>
              </a:ext>
            </a:extLst>
          </p:cNvPr>
          <p:cNvSpPr txBox="1"/>
          <p:nvPr/>
        </p:nvSpPr>
        <p:spPr>
          <a:xfrm>
            <a:off x="3066625" y="4251416"/>
            <a:ext cx="537212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Gwen Earp</a:t>
            </a:r>
          </a:p>
          <a:p>
            <a:pPr algn="ctr">
              <a:defRPr/>
            </a:pPr>
            <a:r>
              <a:rPr lang="en-US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 Business Systems Manager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AC3885-6163-207D-09A1-34CE806C6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36163850-B238-2A53-19E0-881337F0AF7A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E83BEE-30D6-A072-9C28-1FB7E62548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ECCF23-5F0D-4C6C-21D2-7580B105FE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67317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C1ED2-0740-E4FB-BD9B-238336698D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une Key Da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C527AC-CB1B-7B1D-7306-3EA9A8101C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Close out Cash Advances and Resolve Credit Memos by June 19th.</a:t>
            </a:r>
          </a:p>
          <a:p>
            <a:pPr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Final June PPR’s Submitted for Approval: 10:25am June 29th</a:t>
            </a:r>
            <a:r>
              <a:rPr lang="en-US" sz="2400" baseline="30000" dirty="0"/>
              <a:t> </a:t>
            </a:r>
            <a:r>
              <a:rPr lang="en-US" sz="2400" dirty="0"/>
              <a:t>- No PPR Approvals: June 30th to July 1st (Resume on July 2nd).</a:t>
            </a:r>
          </a:p>
          <a:p>
            <a:pPr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Finally Close POs that should not carry forward to FY27 by 3pm on Tuesday, June 30th.</a:t>
            </a:r>
          </a:p>
          <a:p>
            <a:pPr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Approve and Validate all unpaid invoices by 3pm on Tuesday, June 30th.</a:t>
            </a:r>
          </a:p>
          <a:p>
            <a:pPr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b="1" dirty="0"/>
              <a:t>NCFS Blackout Period: 3pm June 30th to Mid-Day July 1st. </a:t>
            </a:r>
            <a:r>
              <a:rPr lang="en-US" sz="2400" dirty="0"/>
              <a:t>No User Access During this period while PO Budget Carry Forward is processing.</a:t>
            </a:r>
          </a:p>
          <a:p>
            <a:pPr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No new Requisitions, POs, PO Change Orders, or Receipts from eProcurement during blackout period.</a:t>
            </a:r>
          </a:p>
          <a:p>
            <a:pPr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Begin Flagging AP Accruals July 1st.</a:t>
            </a:r>
          </a:p>
          <a:p>
            <a:pPr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FY27 Fixed Asset Freeze July 1st to July 28th  - Final Day for FY26 Fixed Asset Data is July 26th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E83D78-455B-5DCF-4CF9-9873E88D84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7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1113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46AC69-B357-5E09-1B2B-C2054AA234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01BA71-FB4E-6B44-D4C7-9765F0347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Year-End Upda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FF9FB2-A89E-378C-222C-3C1D752A34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a typeface="Calibri"/>
                <a:cs typeface="Calibri"/>
              </a:rPr>
              <a:t>The </a:t>
            </a:r>
            <a:r>
              <a:rPr lang="en-US" sz="2000" dirty="0">
                <a:ea typeface="Calibri"/>
                <a:cs typeface="Calibri"/>
                <a:hlinkClick r:id="rId4"/>
              </a:rPr>
              <a:t>Year End Checklist</a:t>
            </a:r>
            <a:r>
              <a:rPr lang="en-US" sz="2000" dirty="0">
                <a:ea typeface="Calibri"/>
                <a:cs typeface="Calibri"/>
              </a:rPr>
              <a:t> has been updated on OSC's website.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sz="2000" dirty="0">
                <a:ea typeface="Calibri"/>
                <a:cs typeface="Calibri"/>
              </a:rPr>
              <a:t>Checklist was updated on May 15th to include some OSBM deadlines.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sz="2000" dirty="0">
                <a:ea typeface="Calibri"/>
                <a:cs typeface="Calibri"/>
              </a:rPr>
              <a:t>Please download and use the updated version.   </a:t>
            </a:r>
            <a:r>
              <a:rPr lang="en-US" sz="2000" dirty="0"/>
              <a:t>  </a:t>
            </a:r>
            <a:endParaRPr lang="en-US" sz="2000" dirty="0">
              <a:ea typeface="Calibri"/>
              <a:cs typeface="Calibri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a typeface="Calibri"/>
                <a:cs typeface="Calibri"/>
              </a:rPr>
              <a:t> Year End Accrual session will be held Monday, June 15th at 1:00 pm.  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Tx/>
            </a:pPr>
            <a:r>
              <a:rPr lang="en-US" sz="2000" dirty="0">
                <a:ea typeface="Calibri"/>
                <a:cs typeface="Calibri"/>
              </a:rPr>
              <a:t>NEW for Accruals:</a:t>
            </a:r>
          </a:p>
          <a:p>
            <a:pPr marL="1257300" lvl="2" indent="-342900"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The INT-AP-030 Party Payment Interface has been updated to receive accrual codes in the interface.</a:t>
            </a:r>
          </a:p>
          <a:p>
            <a:pPr marL="1257300" lvl="2" indent="-342900"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This interface is currently used by DHHS, DPS, Agriculture, and Secretary of State.</a:t>
            </a:r>
          </a:p>
          <a:p>
            <a:pPr marL="1257300" lvl="2" indent="-342900"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OSC emailed the subsystem technical contacts for these agencies on May 15th to let them know this functionality is now available.  </a:t>
            </a:r>
          </a:p>
          <a:p>
            <a:pPr marL="1257300" lvl="2" indent="-342900"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Subsystems will need to test files with NCFS prior to sending accrual codes in July.</a:t>
            </a:r>
          </a:p>
          <a:p>
            <a:pPr marL="1257311" lvl="2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ea typeface="Calibri"/>
                <a:cs typeface="Calibri"/>
              </a:rPr>
              <a:t>Please submit a ticket to request file layout updates and testing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0530E-CDD1-A753-96DF-042C1F18B1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0AEA26-064F-29B2-72C0-2F7C60A2C0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44423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CD95C-E030-F41B-9A8C-5D0ABB574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956D7-47CD-65DF-1B2A-48799AE90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Budget System Replacement Project Updates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E91D2EA-9A72-1D98-A72A-B5784A6238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2" t="2807" r="3290" b="4154"/>
          <a:stretch>
            <a:fillRect/>
          </a:stretch>
        </p:blipFill>
        <p:spPr bwMode="auto">
          <a:xfrm>
            <a:off x="4956047" y="1947671"/>
            <a:ext cx="1965961" cy="201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59E6393-BEB0-E700-8D17-83AC4DD2DC86}"/>
              </a:ext>
            </a:extLst>
          </p:cNvPr>
          <p:cNvSpPr txBox="1"/>
          <p:nvPr/>
        </p:nvSpPr>
        <p:spPr>
          <a:xfrm>
            <a:off x="3447625" y="4251416"/>
            <a:ext cx="499112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Taylor Brumbeloe</a:t>
            </a:r>
          </a:p>
          <a:p>
            <a:pPr algn="ctr">
              <a:defRPr/>
            </a:pPr>
            <a:r>
              <a:rPr lang="en-US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Deputy State Controller, NCF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91165D-3389-C0E1-CAE7-2DBE695840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D154196C-839A-070F-13F8-F69C239FD53F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3EA374-40B3-4A63-992E-1657FB8A58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B7DEF8-0053-B2BA-16C6-973D04754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46540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27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D49D150-7792-402F-921A-D4112A88735A}" vid="{8C3F12D2-67B9-4719-87CF-9AA30E2EF7F4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 Portal Naming Contest" id="{D63A938A-2CC1-4E51-8013-979E14F54E34}" vid="{19FDFDBE-DD94-41AF-8999-FAF6340CB8EA}"/>
    </a:ext>
  </a:extLst>
</a:theme>
</file>

<file path=ppt/theme/theme4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11A3E18-2229-4062-B693-93773C9F3570}" vid="{D04656D6-CC52-4751-B34D-F0BE9F61827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684ed82-2840-4b1a-9227-992a270a08a4">
      <Terms xmlns="http://schemas.microsoft.com/office/infopath/2007/PartnerControls"/>
    </lcf76f155ced4ddcb4097134ff3c332f>
    <TaxCatchAll xmlns="3123569f-bf77-4831-ad13-9ec49bb44483" xsi:nil="true"/>
    <Notes xmlns="3684ed82-2840-4b1a-9227-992a270a08a4" xsi:nil="true"/>
    <SharedWithUsers xmlns="3123569f-bf77-4831-ad13-9ec49bb44483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1553DD6B7DBA43B25B41FC7D9EFC17" ma:contentTypeVersion="19" ma:contentTypeDescription="Create a new document." ma:contentTypeScope="" ma:versionID="dee7b3ee227de8bd67c1a55925216cbd">
  <xsd:schema xmlns:xsd="http://www.w3.org/2001/XMLSchema" xmlns:xs="http://www.w3.org/2001/XMLSchema" xmlns:p="http://schemas.microsoft.com/office/2006/metadata/properties" xmlns:ns2="3123569f-bf77-4831-ad13-9ec49bb44483" xmlns:ns3="3684ed82-2840-4b1a-9227-992a270a08a4" targetNamespace="http://schemas.microsoft.com/office/2006/metadata/properties" ma:root="true" ma:fieldsID="25593c0e1809fc45b063222f4b32bb46" ns2:_="" ns3:_="">
    <xsd:import namespace="3123569f-bf77-4831-ad13-9ec49bb44483"/>
    <xsd:import namespace="3684ed82-2840-4b1a-9227-992a270a08a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Notes" minOccurs="0"/>
                <xsd:element ref="ns3:MediaLengthInSecond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23569f-bf77-4831-ad13-9ec49bb4448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da77be2-dc9f-42fe-9171-eca68ea2d994}" ma:internalName="TaxCatchAll" ma:showField="CatchAllData" ma:web="3123569f-bf77-4831-ad13-9ec49bb444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84ed82-2840-4b1a-9227-992a270a08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73cfa9a-e889-43e5-9e7e-099e1654cb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Notes" ma:index="21" nillable="true" ma:displayName="Notes" ma:format="Dropdown" ma:internalName="Notes">
      <xsd:simpleType>
        <xsd:restriction base="dms:Note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0A58BFD-D85A-4ADE-B62F-A3F5667216B0}">
  <ds:schemaRefs>
    <ds:schemaRef ds:uri="http://purl.org/dc/terms/"/>
    <ds:schemaRef ds:uri="http://schemas.microsoft.com/office/infopath/2007/PartnerControls"/>
    <ds:schemaRef ds:uri="http://schemas.microsoft.com/office/2006/metadata/properties"/>
    <ds:schemaRef ds:uri="3684ed82-2840-4b1a-9227-992a270a08a4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documentManagement/types"/>
    <ds:schemaRef ds:uri="3123569f-bf77-4831-ad13-9ec49bb44483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133A982-3519-41F6-8060-B5ED50FBB758}">
  <ds:schemaRefs>
    <ds:schemaRef ds:uri="3123569f-bf77-4831-ad13-9ec49bb44483"/>
    <ds:schemaRef ds:uri="3684ed82-2840-4b1a-9227-992a270a08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1CE7F15-6DE0-4E85-96D3-36EB5EB1B74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CFS_Template_FINAL</Template>
  <TotalTime>608</TotalTime>
  <Words>1162</Words>
  <Application>Microsoft Office PowerPoint</Application>
  <PresentationFormat>Widescreen</PresentationFormat>
  <Paragraphs>224</Paragraphs>
  <Slides>27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9" baseType="lpstr">
      <vt:lpstr>Aptos</vt:lpstr>
      <vt:lpstr>Aptos Narrow</vt:lpstr>
      <vt:lpstr>Arial</vt:lpstr>
      <vt:lpstr>Calibri</vt:lpstr>
      <vt:lpstr>Calibri Light</vt:lpstr>
      <vt:lpstr>Century Gothic</vt:lpstr>
      <vt:lpstr>Wingdings</vt:lpstr>
      <vt:lpstr>1_Office Theme</vt:lpstr>
      <vt:lpstr>Custom Design</vt:lpstr>
      <vt:lpstr>1_Office Theme</vt:lpstr>
      <vt:lpstr>3_Office Theme</vt:lpstr>
      <vt:lpstr>think-cell Slide</vt:lpstr>
      <vt:lpstr>NCFS Insights</vt:lpstr>
      <vt:lpstr>Welcome</vt:lpstr>
      <vt:lpstr>Agenda</vt:lpstr>
      <vt:lpstr>Presenters </vt:lpstr>
      <vt:lpstr>Polling Question</vt:lpstr>
      <vt:lpstr>Materials</vt:lpstr>
      <vt:lpstr>June Key Dates</vt:lpstr>
      <vt:lpstr>Year-End Updates</vt:lpstr>
      <vt:lpstr>Budget System Replacement Project Updates</vt:lpstr>
      <vt:lpstr>BSR Project – What’s New</vt:lpstr>
      <vt:lpstr>BRIDGE Project Phase 1</vt:lpstr>
      <vt:lpstr>BRIDGE Project Future Phases</vt:lpstr>
      <vt:lpstr>BRIDGE Project Training</vt:lpstr>
      <vt:lpstr>Technical Updates</vt:lpstr>
      <vt:lpstr>ADFDI Update ( MS-Excel Plugin)</vt:lpstr>
      <vt:lpstr>Training Update</vt:lpstr>
      <vt:lpstr>Training – Updates</vt:lpstr>
      <vt:lpstr>User Engagement</vt:lpstr>
      <vt:lpstr>Feedback by Process Area - Agency</vt:lpstr>
      <vt:lpstr>Feedback by Process Area – Interface Groups</vt:lpstr>
      <vt:lpstr>NCFS Insights Training</vt:lpstr>
      <vt:lpstr>June 2026 Calendar</vt:lpstr>
      <vt:lpstr>July 2026 Calendar</vt:lpstr>
      <vt:lpstr>What's Next?</vt:lpstr>
      <vt:lpstr>Reference Links</vt:lpstr>
      <vt:lpstr>OSC Webpage Resources</vt:lpstr>
      <vt:lpstr>Questions &amp; Answ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1 User Change Readiness Survey</dc:title>
  <dc:creator>Bosman, Kelli</dc:creator>
  <cp:lastModifiedBy>April Durrence</cp:lastModifiedBy>
  <cp:revision>2</cp:revision>
  <dcterms:created xsi:type="dcterms:W3CDTF">2020-11-18T19:08:20Z</dcterms:created>
  <dcterms:modified xsi:type="dcterms:W3CDTF">2026-06-11T17:1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1553DD6B7DBA43B25B41FC7D9EFC17</vt:lpwstr>
  </property>
  <property fmtid="{D5CDD505-2E9C-101B-9397-08002B2CF9AE}" pid="3" name="_dlc_DocIdItemGuid">
    <vt:lpwstr>0bdb9aa9-1e67-44e0-a0d7-e25815919b2c</vt:lpwstr>
  </property>
  <property fmtid="{D5CDD505-2E9C-101B-9397-08002B2CF9AE}" pid="4" name="ArticulateGUID">
    <vt:lpwstr>0C8C4131-24D3-4909-A5E0-7472A64E5B91</vt:lpwstr>
  </property>
  <property fmtid="{D5CDD505-2E9C-101B-9397-08002B2CF9AE}" pid="5" name="ArticulatePath">
    <vt:lpwstr>Transfer Order Clarification Supporting Documentation</vt:lpwstr>
  </property>
  <property fmtid="{D5CDD505-2E9C-101B-9397-08002B2CF9AE}" pid="6" name="MediaServiceImageTags">
    <vt:lpwstr/>
  </property>
  <property fmtid="{D5CDD505-2E9C-101B-9397-08002B2CF9AE}" pid="7" name="Order">
    <vt:r8>48635400</vt:r8>
  </property>
  <property fmtid="{D5CDD505-2E9C-101B-9397-08002B2CF9AE}" pid="8" name="xd_Signature">
    <vt:bool>false</vt:bool>
  </property>
  <property fmtid="{D5CDD505-2E9C-101B-9397-08002B2CF9AE}" pid="9" name="xd_ProgID">
    <vt:lpwstr/>
  </property>
  <property fmtid="{D5CDD505-2E9C-101B-9397-08002B2CF9AE}" pid="10" name="ComplianceAssetId">
    <vt:lpwstr/>
  </property>
  <property fmtid="{D5CDD505-2E9C-101B-9397-08002B2CF9AE}" pid="11" name="TemplateUrl">
    <vt:lpwstr/>
  </property>
  <property fmtid="{D5CDD505-2E9C-101B-9397-08002B2CF9AE}" pid="12" name="_ExtendedDescription">
    <vt:lpwstr/>
  </property>
  <property fmtid="{D5CDD505-2E9C-101B-9397-08002B2CF9AE}" pid="13" name="TriggerFlowInfo">
    <vt:lpwstr/>
  </property>
  <property fmtid="{D5CDD505-2E9C-101B-9397-08002B2CF9AE}" pid="14" name="MSIP_Label_8cf4a652-f7e0-491e-8e13-44afaf9aeba3_Enabled">
    <vt:lpwstr>true</vt:lpwstr>
  </property>
  <property fmtid="{D5CDD505-2E9C-101B-9397-08002B2CF9AE}" pid="15" name="MSIP_Label_8cf4a652-f7e0-491e-8e13-44afaf9aeba3_Method">
    <vt:lpwstr>Standard</vt:lpwstr>
  </property>
  <property fmtid="{D5CDD505-2E9C-101B-9397-08002B2CF9AE}" pid="16" name="MSIP_Label_8cf4a652-f7e0-491e-8e13-44afaf9aeba3_Name">
    <vt:lpwstr>Anyone</vt:lpwstr>
  </property>
  <property fmtid="{D5CDD505-2E9C-101B-9397-08002B2CF9AE}" pid="17" name="MSIP_Label_8cf4a652-f7e0-491e-8e13-44afaf9aeba3_SiteId">
    <vt:lpwstr>a1f43f48-54fe-433f-9378-968b45bc6665</vt:lpwstr>
  </property>
  <property fmtid="{D5CDD505-2E9C-101B-9397-08002B2CF9AE}" pid="18" name="MSIP_Label_8cf4a652-f7e0-491e-8e13-44afaf9aeba3_ActionId">
    <vt:lpwstr>8ee7aa86-4aac-4d3b-8e48-afbf99d6900b</vt:lpwstr>
  </property>
  <property fmtid="{D5CDD505-2E9C-101B-9397-08002B2CF9AE}" pid="19" name="MSIP_Label_8cf4a652-f7e0-491e-8e13-44afaf9aeba3_ContentBits">
    <vt:lpwstr>0</vt:lpwstr>
  </property>
  <property fmtid="{D5CDD505-2E9C-101B-9397-08002B2CF9AE}" pid="20" name="MSIP_Label_8cf4a652-f7e0-491e-8e13-44afaf9aeba3_Tag">
    <vt:lpwstr>10, 3, 0, 2</vt:lpwstr>
  </property>
  <property fmtid="{D5CDD505-2E9C-101B-9397-08002B2CF9AE}" pid="21" name="MSIP_Label_8cf4a652-f7e0-491e-8e13-44afaf9aeba3_SetDate">
    <vt:lpwstr>2026-05-27T19:14:47Z</vt:lpwstr>
  </property>
</Properties>
</file>